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  <p:sldMasterId id="2147483692" r:id="rId5"/>
    <p:sldMasterId id="2147483701" r:id="rId6"/>
    <p:sldMasterId id="2147483738" r:id="rId7"/>
    <p:sldMasterId id="2147483746" r:id="rId8"/>
  </p:sldMasterIdLst>
  <p:notesMasterIdLst>
    <p:notesMasterId r:id="rId26"/>
  </p:notesMasterIdLst>
  <p:handoutMasterIdLst>
    <p:handoutMasterId r:id="rId27"/>
  </p:handoutMasterIdLst>
  <p:sldIdLst>
    <p:sldId id="551" r:id="rId9"/>
    <p:sldId id="637" r:id="rId10"/>
    <p:sldId id="722" r:id="rId11"/>
    <p:sldId id="736" r:id="rId12"/>
    <p:sldId id="741" r:id="rId13"/>
    <p:sldId id="740" r:id="rId14"/>
    <p:sldId id="742" r:id="rId15"/>
    <p:sldId id="743" r:id="rId16"/>
    <p:sldId id="744" r:id="rId17"/>
    <p:sldId id="745" r:id="rId18"/>
    <p:sldId id="737" r:id="rId19"/>
    <p:sldId id="738" r:id="rId20"/>
    <p:sldId id="739" r:id="rId21"/>
    <p:sldId id="746" r:id="rId22"/>
    <p:sldId id="747" r:id="rId23"/>
    <p:sldId id="748" r:id="rId24"/>
    <p:sldId id="672" r:id="rId25"/>
  </p:sldIdLst>
  <p:sldSz cx="12192000" cy="6858000"/>
  <p:notesSz cx="6669088" cy="97536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EAA774C-19B1-4ADD-BCDE-F83F04F40506}">
          <p14:sldIdLst>
            <p14:sldId id="551"/>
            <p14:sldId id="637"/>
            <p14:sldId id="722"/>
            <p14:sldId id="736"/>
          </p14:sldIdLst>
        </p14:section>
        <p14:section name="Transversal skills" id="{B645EF5F-E7CE-4167-BECD-03DABF2337F2}">
          <p14:sldIdLst>
            <p14:sldId id="741"/>
            <p14:sldId id="740"/>
            <p14:sldId id="742"/>
          </p14:sldIdLst>
        </p14:section>
        <p14:section name="Green skills taxonomy" id="{4B5CF761-5EB0-4826-ADAC-FC1A9F96E576}">
          <p14:sldIdLst>
            <p14:sldId id="743"/>
            <p14:sldId id="744"/>
            <p14:sldId id="745"/>
          </p14:sldIdLst>
        </p14:section>
        <p14:section name="AI for ESCO" id="{F6CD4172-C957-4F16-A2F2-92E18F11F2F6}">
          <p14:sldIdLst>
            <p14:sldId id="737"/>
            <p14:sldId id="738"/>
            <p14:sldId id="739"/>
          </p14:sldIdLst>
        </p14:section>
        <p14:section name="Next steps" id="{DD50B3DE-DEAC-403F-A3D5-19ADF3BC094A}">
          <p14:sldIdLst>
            <p14:sldId id="746"/>
            <p14:sldId id="747"/>
            <p14:sldId id="748"/>
            <p14:sldId id="67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1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6B861"/>
    <a:srgbClr val="62C4DD"/>
    <a:srgbClr val="F6B8CB"/>
    <a:srgbClr val="34348A"/>
    <a:srgbClr val="3C3C9E"/>
    <a:srgbClr val="D2D2EE"/>
    <a:srgbClr val="E85281"/>
    <a:srgbClr val="FFEBAB"/>
    <a:srgbClr val="FFC000"/>
    <a:srgbClr val="F822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E95209-F3C6-4E74-8CB8-02615590C8FE}" v="1409" dt="2021-11-26T10:51:25.028"/>
  </p1510:revLst>
</p1510:revInfo>
</file>

<file path=ppt/tableStyles.xml><?xml version="1.0" encoding="utf-8"?>
<a:tblStyleLst xmlns:a="http://schemas.openxmlformats.org/drawingml/2006/main" def="{5C22544A-7EE6-4342-B048-85BDC9FD1C3A}"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50" autoAdjust="0"/>
    <p:restoredTop sz="84117" autoAdjust="0"/>
  </p:normalViewPr>
  <p:slideViewPr>
    <p:cSldViewPr snapToGrid="0">
      <p:cViewPr varScale="1">
        <p:scale>
          <a:sx n="68" d="100"/>
          <a:sy n="68" d="100"/>
        </p:scale>
        <p:origin x="1363" y="58"/>
      </p:cViewPr>
      <p:guideLst>
        <p:guide orient="horz" pos="2160"/>
        <p:guide pos="3816"/>
      </p:guideLst>
    </p:cSldViewPr>
  </p:slideViewPr>
  <p:outlineViewPr>
    <p:cViewPr>
      <p:scale>
        <a:sx n="33" d="100"/>
        <a:sy n="33" d="100"/>
      </p:scale>
      <p:origin x="0" y="-7541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tags" Target="tags/tag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enraad Polley" userId="2479f414-3073-4106-910c-320e929c4f8b" providerId="ADAL" clId="{A5E95209-F3C6-4E74-8CB8-02615590C8FE}"/>
    <pc:docChg chg="undo custSel addSld delSld modSld sldOrd addSection delSection modSection">
      <pc:chgData name="Koenraad Polley" userId="2479f414-3073-4106-910c-320e929c4f8b" providerId="ADAL" clId="{A5E95209-F3C6-4E74-8CB8-02615590C8FE}" dt="2021-11-29T08:13:18.116" v="4477" actId="1076"/>
      <pc:docMkLst>
        <pc:docMk/>
      </pc:docMkLst>
      <pc:sldChg chg="addSp delSp modSp mod">
        <pc:chgData name="Koenraad Polley" userId="2479f414-3073-4106-910c-320e929c4f8b" providerId="ADAL" clId="{A5E95209-F3C6-4E74-8CB8-02615590C8FE}" dt="2021-11-24T16:22:48.659" v="65" actId="6549"/>
        <pc:sldMkLst>
          <pc:docMk/>
          <pc:sldMk cId="1571873877" sldId="551"/>
        </pc:sldMkLst>
        <pc:spChg chg="del mod">
          <ac:chgData name="Koenraad Polley" userId="2479f414-3073-4106-910c-320e929c4f8b" providerId="ADAL" clId="{A5E95209-F3C6-4E74-8CB8-02615590C8FE}" dt="2021-11-24T16:20:27.465" v="22" actId="478"/>
          <ac:spMkLst>
            <pc:docMk/>
            <pc:sldMk cId="1571873877" sldId="551"/>
            <ac:spMk id="3" creationId="{00000000-0000-0000-0000-000000000000}"/>
          </ac:spMkLst>
        </pc:spChg>
        <pc:spChg chg="add del mod">
          <ac:chgData name="Koenraad Polley" userId="2479f414-3073-4106-910c-320e929c4f8b" providerId="ADAL" clId="{A5E95209-F3C6-4E74-8CB8-02615590C8FE}" dt="2021-11-24T16:20:31.015" v="23" actId="478"/>
          <ac:spMkLst>
            <pc:docMk/>
            <pc:sldMk cId="1571873877" sldId="551"/>
            <ac:spMk id="4" creationId="{978A34C7-2203-4A05-BC36-07475F9ADC21}"/>
          </ac:spMkLst>
        </pc:spChg>
        <pc:spChg chg="mod">
          <ac:chgData name="Koenraad Polley" userId="2479f414-3073-4106-910c-320e929c4f8b" providerId="ADAL" clId="{A5E95209-F3C6-4E74-8CB8-02615590C8FE}" dt="2021-11-24T16:22:48.659" v="65" actId="6549"/>
          <ac:spMkLst>
            <pc:docMk/>
            <pc:sldMk cId="1571873877" sldId="551"/>
            <ac:spMk id="5" creationId="{00000000-0000-0000-0000-000000000000}"/>
          </ac:spMkLst>
        </pc:spChg>
      </pc:sldChg>
      <pc:sldChg chg="addSp modSp mod modClrScheme chgLayout">
        <pc:chgData name="Koenraad Polley" userId="2479f414-3073-4106-910c-320e929c4f8b" providerId="ADAL" clId="{A5E95209-F3C6-4E74-8CB8-02615590C8FE}" dt="2021-11-24T16:33:22.562" v="122" actId="1076"/>
        <pc:sldMkLst>
          <pc:docMk/>
          <pc:sldMk cId="1102827209" sldId="637"/>
        </pc:sldMkLst>
        <pc:spChg chg="mod ord">
          <ac:chgData name="Koenraad Polley" userId="2479f414-3073-4106-910c-320e929c4f8b" providerId="ADAL" clId="{A5E95209-F3C6-4E74-8CB8-02615590C8FE}" dt="2021-11-24T16:33:15.246" v="121" actId="1076"/>
          <ac:spMkLst>
            <pc:docMk/>
            <pc:sldMk cId="1102827209" sldId="637"/>
            <ac:spMk id="2" creationId="{00000000-0000-0000-0000-000000000000}"/>
          </ac:spMkLst>
        </pc:spChg>
        <pc:spChg chg="mod ord">
          <ac:chgData name="Koenraad Polley" userId="2479f414-3073-4106-910c-320e929c4f8b" providerId="ADAL" clId="{A5E95209-F3C6-4E74-8CB8-02615590C8FE}" dt="2021-11-24T16:33:22.562" v="122" actId="1076"/>
          <ac:spMkLst>
            <pc:docMk/>
            <pc:sldMk cId="1102827209" sldId="637"/>
            <ac:spMk id="3" creationId="{00000000-0000-0000-0000-000000000000}"/>
          </ac:spMkLst>
        </pc:spChg>
        <pc:spChg chg="add mod">
          <ac:chgData name="Koenraad Polley" userId="2479f414-3073-4106-910c-320e929c4f8b" providerId="ADAL" clId="{A5E95209-F3C6-4E74-8CB8-02615590C8FE}" dt="2021-11-24T16:33:22.562" v="122" actId="1076"/>
          <ac:spMkLst>
            <pc:docMk/>
            <pc:sldMk cId="1102827209" sldId="637"/>
            <ac:spMk id="6" creationId="{4310556A-0406-4996-92BB-90A2629722FA}"/>
          </ac:spMkLst>
        </pc:spChg>
        <pc:picChg chg="add mod">
          <ac:chgData name="Koenraad Polley" userId="2479f414-3073-4106-910c-320e929c4f8b" providerId="ADAL" clId="{A5E95209-F3C6-4E74-8CB8-02615590C8FE}" dt="2021-11-24T16:33:22.562" v="122" actId="1076"/>
          <ac:picMkLst>
            <pc:docMk/>
            <pc:sldMk cId="1102827209" sldId="637"/>
            <ac:picMk id="5" creationId="{86431CEE-E7A7-44F2-A756-2902704ECF13}"/>
          </ac:picMkLst>
        </pc:picChg>
      </pc:sldChg>
      <pc:sldChg chg="ord">
        <pc:chgData name="Koenraad Polley" userId="2479f414-3073-4106-910c-320e929c4f8b" providerId="ADAL" clId="{A5E95209-F3C6-4E74-8CB8-02615590C8FE}" dt="2021-11-25T23:13:18.023" v="4309"/>
        <pc:sldMkLst>
          <pc:docMk/>
          <pc:sldMk cId="735897103" sldId="672"/>
        </pc:sldMkLst>
      </pc:sldChg>
      <pc:sldChg chg="del">
        <pc:chgData name="Koenraad Polley" userId="2479f414-3073-4106-910c-320e929c4f8b" providerId="ADAL" clId="{A5E95209-F3C6-4E74-8CB8-02615590C8FE}" dt="2021-11-25T23:13:34.917" v="4310" actId="18676"/>
        <pc:sldMkLst>
          <pc:docMk/>
          <pc:sldMk cId="1055769611" sldId="720"/>
        </pc:sldMkLst>
      </pc:sldChg>
      <pc:sldChg chg="del">
        <pc:chgData name="Koenraad Polley" userId="2479f414-3073-4106-910c-320e929c4f8b" providerId="ADAL" clId="{A5E95209-F3C6-4E74-8CB8-02615590C8FE}" dt="2021-11-25T23:13:34.917" v="4310" actId="18676"/>
        <pc:sldMkLst>
          <pc:docMk/>
          <pc:sldMk cId="3824770344" sldId="721"/>
        </pc:sldMkLst>
      </pc:sldChg>
      <pc:sldChg chg="addSp delSp modSp mod ord">
        <pc:chgData name="Koenraad Polley" userId="2479f414-3073-4106-910c-320e929c4f8b" providerId="ADAL" clId="{A5E95209-F3C6-4E74-8CB8-02615590C8FE}" dt="2021-11-24T17:17:40.788" v="816" actId="14100"/>
        <pc:sldMkLst>
          <pc:docMk/>
          <pc:sldMk cId="2145205915" sldId="722"/>
        </pc:sldMkLst>
        <pc:spChg chg="del mod">
          <ac:chgData name="Koenraad Polley" userId="2479f414-3073-4106-910c-320e929c4f8b" providerId="ADAL" clId="{A5E95209-F3C6-4E74-8CB8-02615590C8FE}" dt="2021-11-24T17:17:14.807" v="809" actId="478"/>
          <ac:spMkLst>
            <pc:docMk/>
            <pc:sldMk cId="2145205915" sldId="722"/>
            <ac:spMk id="2" creationId="{00000000-0000-0000-0000-000000000000}"/>
          </ac:spMkLst>
        </pc:spChg>
        <pc:spChg chg="add del mod">
          <ac:chgData name="Koenraad Polley" userId="2479f414-3073-4106-910c-320e929c4f8b" providerId="ADAL" clId="{A5E95209-F3C6-4E74-8CB8-02615590C8FE}" dt="2021-11-24T16:53:26.731" v="138" actId="478"/>
          <ac:spMkLst>
            <pc:docMk/>
            <pc:sldMk cId="2145205915" sldId="722"/>
            <ac:spMk id="4" creationId="{E4F78315-A0EE-42EC-B98B-52E614FB9193}"/>
          </ac:spMkLst>
        </pc:spChg>
        <pc:spChg chg="add del mod">
          <ac:chgData name="Koenraad Polley" userId="2479f414-3073-4106-910c-320e929c4f8b" providerId="ADAL" clId="{A5E95209-F3C6-4E74-8CB8-02615590C8FE}" dt="2021-11-24T16:55:48.479" v="155" actId="478"/>
          <ac:spMkLst>
            <pc:docMk/>
            <pc:sldMk cId="2145205915" sldId="722"/>
            <ac:spMk id="7" creationId="{99CC8170-0698-4B0E-976D-756B50EA15A1}"/>
          </ac:spMkLst>
        </pc:spChg>
        <pc:spChg chg="del mod">
          <ac:chgData name="Koenraad Polley" userId="2479f414-3073-4106-910c-320e929c4f8b" providerId="ADAL" clId="{A5E95209-F3C6-4E74-8CB8-02615590C8FE}" dt="2021-11-24T17:17:21.450" v="811" actId="478"/>
          <ac:spMkLst>
            <pc:docMk/>
            <pc:sldMk cId="2145205915" sldId="722"/>
            <ac:spMk id="9" creationId="{98076F75-DA1A-4D12-AF95-6692202F9054}"/>
          </ac:spMkLst>
        </pc:spChg>
        <pc:spChg chg="add del mod">
          <ac:chgData name="Koenraad Polley" userId="2479f414-3073-4106-910c-320e929c4f8b" providerId="ADAL" clId="{A5E95209-F3C6-4E74-8CB8-02615590C8FE}" dt="2021-11-24T17:17:23.084" v="812" actId="478"/>
          <ac:spMkLst>
            <pc:docMk/>
            <pc:sldMk cId="2145205915" sldId="722"/>
            <ac:spMk id="10" creationId="{5B83BDEE-5763-400C-A25E-BB323F90A47D}"/>
          </ac:spMkLst>
        </pc:spChg>
        <pc:graphicFrameChg chg="del">
          <ac:chgData name="Koenraad Polley" userId="2479f414-3073-4106-910c-320e929c4f8b" providerId="ADAL" clId="{A5E95209-F3C6-4E74-8CB8-02615590C8FE}" dt="2021-11-24T16:53:24.817" v="137" actId="478"/>
          <ac:graphicFrameMkLst>
            <pc:docMk/>
            <pc:sldMk cId="2145205915" sldId="722"/>
            <ac:graphicFrameMk id="5" creationId="{FB745948-8F98-489C-AD5F-B2B6147CF454}"/>
          </ac:graphicFrameMkLst>
        </pc:graphicFrameChg>
        <pc:picChg chg="mod">
          <ac:chgData name="Koenraad Polley" userId="2479f414-3073-4106-910c-320e929c4f8b" providerId="ADAL" clId="{A5E95209-F3C6-4E74-8CB8-02615590C8FE}" dt="2021-11-24T17:17:40.788" v="816" actId="14100"/>
          <ac:picMkLst>
            <pc:docMk/>
            <pc:sldMk cId="2145205915" sldId="722"/>
            <ac:picMk id="6" creationId="{00000000-0000-0000-0000-000000000000}"/>
          </ac:picMkLst>
        </pc:picChg>
      </pc:sldChg>
      <pc:sldChg chg="del">
        <pc:chgData name="Koenraad Polley" userId="2479f414-3073-4106-910c-320e929c4f8b" providerId="ADAL" clId="{A5E95209-F3C6-4E74-8CB8-02615590C8FE}" dt="2021-11-25T23:13:34.917" v="4310" actId="18676"/>
        <pc:sldMkLst>
          <pc:docMk/>
          <pc:sldMk cId="764861762" sldId="723"/>
        </pc:sldMkLst>
      </pc:sldChg>
      <pc:sldChg chg="del">
        <pc:chgData name="Koenraad Polley" userId="2479f414-3073-4106-910c-320e929c4f8b" providerId="ADAL" clId="{A5E95209-F3C6-4E74-8CB8-02615590C8FE}" dt="2021-11-25T23:13:34.917" v="4310" actId="18676"/>
        <pc:sldMkLst>
          <pc:docMk/>
          <pc:sldMk cId="1164136525" sldId="724"/>
        </pc:sldMkLst>
      </pc:sldChg>
      <pc:sldChg chg="del">
        <pc:chgData name="Koenraad Polley" userId="2479f414-3073-4106-910c-320e929c4f8b" providerId="ADAL" clId="{A5E95209-F3C6-4E74-8CB8-02615590C8FE}" dt="2021-11-25T23:13:34.917" v="4310" actId="18676"/>
        <pc:sldMkLst>
          <pc:docMk/>
          <pc:sldMk cId="2880025877" sldId="725"/>
        </pc:sldMkLst>
      </pc:sldChg>
      <pc:sldChg chg="del">
        <pc:chgData name="Koenraad Polley" userId="2479f414-3073-4106-910c-320e929c4f8b" providerId="ADAL" clId="{A5E95209-F3C6-4E74-8CB8-02615590C8FE}" dt="2021-11-25T23:13:34.917" v="4310" actId="18676"/>
        <pc:sldMkLst>
          <pc:docMk/>
          <pc:sldMk cId="4068168836" sldId="726"/>
        </pc:sldMkLst>
      </pc:sldChg>
      <pc:sldChg chg="del">
        <pc:chgData name="Koenraad Polley" userId="2479f414-3073-4106-910c-320e929c4f8b" providerId="ADAL" clId="{A5E95209-F3C6-4E74-8CB8-02615590C8FE}" dt="2021-11-25T23:13:34.917" v="4310" actId="18676"/>
        <pc:sldMkLst>
          <pc:docMk/>
          <pc:sldMk cId="2093677764" sldId="727"/>
        </pc:sldMkLst>
      </pc:sldChg>
      <pc:sldChg chg="del">
        <pc:chgData name="Koenraad Polley" userId="2479f414-3073-4106-910c-320e929c4f8b" providerId="ADAL" clId="{A5E95209-F3C6-4E74-8CB8-02615590C8FE}" dt="2021-11-25T23:13:34.917" v="4310" actId="18676"/>
        <pc:sldMkLst>
          <pc:docMk/>
          <pc:sldMk cId="4046328855" sldId="728"/>
        </pc:sldMkLst>
      </pc:sldChg>
      <pc:sldChg chg="del">
        <pc:chgData name="Koenraad Polley" userId="2479f414-3073-4106-910c-320e929c4f8b" providerId="ADAL" clId="{A5E95209-F3C6-4E74-8CB8-02615590C8FE}" dt="2021-11-25T23:13:34.917" v="4310" actId="18676"/>
        <pc:sldMkLst>
          <pc:docMk/>
          <pc:sldMk cId="2626764947" sldId="729"/>
        </pc:sldMkLst>
      </pc:sldChg>
      <pc:sldChg chg="del">
        <pc:chgData name="Koenraad Polley" userId="2479f414-3073-4106-910c-320e929c4f8b" providerId="ADAL" clId="{A5E95209-F3C6-4E74-8CB8-02615590C8FE}" dt="2021-11-25T23:13:34.917" v="4310" actId="18676"/>
        <pc:sldMkLst>
          <pc:docMk/>
          <pc:sldMk cId="453060946" sldId="730"/>
        </pc:sldMkLst>
      </pc:sldChg>
      <pc:sldChg chg="del">
        <pc:chgData name="Koenraad Polley" userId="2479f414-3073-4106-910c-320e929c4f8b" providerId="ADAL" clId="{A5E95209-F3C6-4E74-8CB8-02615590C8FE}" dt="2021-11-25T23:13:34.917" v="4310" actId="18676"/>
        <pc:sldMkLst>
          <pc:docMk/>
          <pc:sldMk cId="1693903870" sldId="731"/>
        </pc:sldMkLst>
      </pc:sldChg>
      <pc:sldChg chg="del">
        <pc:chgData name="Koenraad Polley" userId="2479f414-3073-4106-910c-320e929c4f8b" providerId="ADAL" clId="{A5E95209-F3C6-4E74-8CB8-02615590C8FE}" dt="2021-11-25T23:13:34.917" v="4310" actId="18676"/>
        <pc:sldMkLst>
          <pc:docMk/>
          <pc:sldMk cId="204988590" sldId="732"/>
        </pc:sldMkLst>
      </pc:sldChg>
      <pc:sldChg chg="del">
        <pc:chgData name="Koenraad Polley" userId="2479f414-3073-4106-910c-320e929c4f8b" providerId="ADAL" clId="{A5E95209-F3C6-4E74-8CB8-02615590C8FE}" dt="2021-11-24T16:53:10.309" v="133" actId="47"/>
        <pc:sldMkLst>
          <pc:docMk/>
          <pc:sldMk cId="4269383521" sldId="734"/>
        </pc:sldMkLst>
      </pc:sldChg>
      <pc:sldChg chg="del">
        <pc:chgData name="Koenraad Polley" userId="2479f414-3073-4106-910c-320e929c4f8b" providerId="ADAL" clId="{A5E95209-F3C6-4E74-8CB8-02615590C8FE}" dt="2021-11-24T16:53:10.932" v="134" actId="47"/>
        <pc:sldMkLst>
          <pc:docMk/>
          <pc:sldMk cId="3319971415" sldId="735"/>
        </pc:sldMkLst>
      </pc:sldChg>
      <pc:sldChg chg="addSp delSp modSp add mod">
        <pc:chgData name="Koenraad Polley" userId="2479f414-3073-4106-910c-320e929c4f8b" providerId="ADAL" clId="{A5E95209-F3C6-4E74-8CB8-02615590C8FE}" dt="2021-11-24T17:16:28.985" v="808" actId="404"/>
        <pc:sldMkLst>
          <pc:docMk/>
          <pc:sldMk cId="1389645836" sldId="736"/>
        </pc:sldMkLst>
        <pc:spChg chg="mod">
          <ac:chgData name="Koenraad Polley" userId="2479f414-3073-4106-910c-320e929c4f8b" providerId="ADAL" clId="{A5E95209-F3C6-4E74-8CB8-02615590C8FE}" dt="2021-11-24T17:00:45.805" v="183" actId="20577"/>
          <ac:spMkLst>
            <pc:docMk/>
            <pc:sldMk cId="1389645836" sldId="736"/>
            <ac:spMk id="2" creationId="{00000000-0000-0000-0000-000000000000}"/>
          </ac:spMkLst>
        </pc:spChg>
        <pc:spChg chg="mod">
          <ac:chgData name="Koenraad Polley" userId="2479f414-3073-4106-910c-320e929c4f8b" providerId="ADAL" clId="{A5E95209-F3C6-4E74-8CB8-02615590C8FE}" dt="2021-11-24T17:16:28.985" v="808" actId="404"/>
          <ac:spMkLst>
            <pc:docMk/>
            <pc:sldMk cId="1389645836" sldId="736"/>
            <ac:spMk id="3" creationId="{00000000-0000-0000-0000-000000000000}"/>
          </ac:spMkLst>
        </pc:spChg>
        <pc:spChg chg="del">
          <ac:chgData name="Koenraad Polley" userId="2479f414-3073-4106-910c-320e929c4f8b" providerId="ADAL" clId="{A5E95209-F3C6-4E74-8CB8-02615590C8FE}" dt="2021-11-24T16:42:39.503" v="124" actId="478"/>
          <ac:spMkLst>
            <pc:docMk/>
            <pc:sldMk cId="1389645836" sldId="736"/>
            <ac:spMk id="6" creationId="{4310556A-0406-4996-92BB-90A2629722FA}"/>
          </ac:spMkLst>
        </pc:spChg>
        <pc:spChg chg="add mod">
          <ac:chgData name="Koenraad Polley" userId="2479f414-3073-4106-910c-320e929c4f8b" providerId="ADAL" clId="{A5E95209-F3C6-4E74-8CB8-02615590C8FE}" dt="2021-11-24T17:15:33.528" v="759" actId="1037"/>
          <ac:spMkLst>
            <pc:docMk/>
            <pc:sldMk cId="1389645836" sldId="736"/>
            <ac:spMk id="12" creationId="{5AA64394-F65C-4BE9-8C48-A2F1C0130AE5}"/>
          </ac:spMkLst>
        </pc:spChg>
        <pc:spChg chg="add del mod">
          <ac:chgData name="Koenraad Polley" userId="2479f414-3073-4106-910c-320e929c4f8b" providerId="ADAL" clId="{A5E95209-F3C6-4E74-8CB8-02615590C8FE}" dt="2021-11-24T17:07:27.762" v="394" actId="478"/>
          <ac:spMkLst>
            <pc:docMk/>
            <pc:sldMk cId="1389645836" sldId="736"/>
            <ac:spMk id="23" creationId="{A3C35A33-B7F4-4FB2-9097-8EE95B291284}"/>
          </ac:spMkLst>
        </pc:spChg>
        <pc:spChg chg="add del mod">
          <ac:chgData name="Koenraad Polley" userId="2479f414-3073-4106-910c-320e929c4f8b" providerId="ADAL" clId="{A5E95209-F3C6-4E74-8CB8-02615590C8FE}" dt="2021-11-24T17:13:40.120" v="720" actId="478"/>
          <ac:spMkLst>
            <pc:docMk/>
            <pc:sldMk cId="1389645836" sldId="736"/>
            <ac:spMk id="24" creationId="{A0FB646D-2BFB-4941-A0F3-0CA250347EDC}"/>
          </ac:spMkLst>
        </pc:spChg>
        <pc:picChg chg="del">
          <ac:chgData name="Koenraad Polley" userId="2479f414-3073-4106-910c-320e929c4f8b" providerId="ADAL" clId="{A5E95209-F3C6-4E74-8CB8-02615590C8FE}" dt="2021-11-24T16:42:39.503" v="124" actId="478"/>
          <ac:picMkLst>
            <pc:docMk/>
            <pc:sldMk cId="1389645836" sldId="736"/>
            <ac:picMk id="5" creationId="{86431CEE-E7A7-44F2-A756-2902704ECF13}"/>
          </ac:picMkLst>
        </pc:picChg>
        <pc:picChg chg="add mod">
          <ac:chgData name="Koenraad Polley" userId="2479f414-3073-4106-910c-320e929c4f8b" providerId="ADAL" clId="{A5E95209-F3C6-4E74-8CB8-02615590C8FE}" dt="2021-11-24T17:15:21.483" v="749" actId="1076"/>
          <ac:picMkLst>
            <pc:docMk/>
            <pc:sldMk cId="1389645836" sldId="736"/>
            <ac:picMk id="7" creationId="{F209C2AF-3083-462B-BACE-427DD8A0A4A5}"/>
          </ac:picMkLst>
        </pc:picChg>
        <pc:picChg chg="add mod">
          <ac:chgData name="Koenraad Polley" userId="2479f414-3073-4106-910c-320e929c4f8b" providerId="ADAL" clId="{A5E95209-F3C6-4E74-8CB8-02615590C8FE}" dt="2021-11-24T17:15:21.483" v="749" actId="1076"/>
          <ac:picMkLst>
            <pc:docMk/>
            <pc:sldMk cId="1389645836" sldId="736"/>
            <ac:picMk id="9" creationId="{21D6AB70-7CF9-4208-9423-8737A42CEF29}"/>
          </ac:picMkLst>
        </pc:picChg>
        <pc:picChg chg="add mod">
          <ac:chgData name="Koenraad Polley" userId="2479f414-3073-4106-910c-320e929c4f8b" providerId="ADAL" clId="{A5E95209-F3C6-4E74-8CB8-02615590C8FE}" dt="2021-11-24T17:15:21.483" v="749" actId="1076"/>
          <ac:picMkLst>
            <pc:docMk/>
            <pc:sldMk cId="1389645836" sldId="736"/>
            <ac:picMk id="11" creationId="{5EFC852B-214B-49DA-BF4D-42659B1C4FC7}"/>
          </ac:picMkLst>
        </pc:picChg>
        <pc:picChg chg="add mod">
          <ac:chgData name="Koenraad Polley" userId="2479f414-3073-4106-910c-320e929c4f8b" providerId="ADAL" clId="{A5E95209-F3C6-4E74-8CB8-02615590C8FE}" dt="2021-11-24T17:15:21.483" v="749" actId="1076"/>
          <ac:picMkLst>
            <pc:docMk/>
            <pc:sldMk cId="1389645836" sldId="736"/>
            <ac:picMk id="14" creationId="{33BBBFF8-9D32-449B-87B1-458AE93CF88D}"/>
          </ac:picMkLst>
        </pc:picChg>
        <pc:picChg chg="add mod">
          <ac:chgData name="Koenraad Polley" userId="2479f414-3073-4106-910c-320e929c4f8b" providerId="ADAL" clId="{A5E95209-F3C6-4E74-8CB8-02615590C8FE}" dt="2021-11-24T17:15:21.483" v="749" actId="1076"/>
          <ac:picMkLst>
            <pc:docMk/>
            <pc:sldMk cId="1389645836" sldId="736"/>
            <ac:picMk id="16" creationId="{60960D26-312D-4C2F-803D-FDE6761CFAE1}"/>
          </ac:picMkLst>
        </pc:picChg>
        <pc:picChg chg="add del mod">
          <ac:chgData name="Koenraad Polley" userId="2479f414-3073-4106-910c-320e929c4f8b" providerId="ADAL" clId="{A5E95209-F3C6-4E74-8CB8-02615590C8FE}" dt="2021-11-24T17:06:01.189" v="380" actId="478"/>
          <ac:picMkLst>
            <pc:docMk/>
            <pc:sldMk cId="1389645836" sldId="736"/>
            <ac:picMk id="18" creationId="{0EC0F10C-3C31-4EED-8F22-FAB096A37565}"/>
          </ac:picMkLst>
        </pc:picChg>
        <pc:picChg chg="add del mod">
          <ac:chgData name="Koenraad Polley" userId="2479f414-3073-4106-910c-320e929c4f8b" providerId="ADAL" clId="{A5E95209-F3C6-4E74-8CB8-02615590C8FE}" dt="2021-11-24T17:05:59.341" v="379" actId="478"/>
          <ac:picMkLst>
            <pc:docMk/>
            <pc:sldMk cId="1389645836" sldId="736"/>
            <ac:picMk id="20" creationId="{3E040944-AA82-441E-B873-5177D3E4D46F}"/>
          </ac:picMkLst>
        </pc:picChg>
        <pc:picChg chg="add del mod">
          <ac:chgData name="Koenraad Polley" userId="2479f414-3073-4106-910c-320e929c4f8b" providerId="ADAL" clId="{A5E95209-F3C6-4E74-8CB8-02615590C8FE}" dt="2021-11-24T17:06:04.546" v="381" actId="478"/>
          <ac:picMkLst>
            <pc:docMk/>
            <pc:sldMk cId="1389645836" sldId="736"/>
            <ac:picMk id="22" creationId="{6E4E16F8-68AE-4029-87CC-0C39222E3124}"/>
          </ac:picMkLst>
        </pc:picChg>
      </pc:sldChg>
      <pc:sldChg chg="addSp delSp modSp add mod modClrScheme chgLayout">
        <pc:chgData name="Koenraad Polley" userId="2479f414-3073-4106-910c-320e929c4f8b" providerId="ADAL" clId="{A5E95209-F3C6-4E74-8CB8-02615590C8FE}" dt="2021-11-24T17:25:39.930" v="889" actId="478"/>
        <pc:sldMkLst>
          <pc:docMk/>
          <pc:sldMk cId="1859982411" sldId="737"/>
        </pc:sldMkLst>
        <pc:spChg chg="del">
          <ac:chgData name="Koenraad Polley" userId="2479f414-3073-4106-910c-320e929c4f8b" providerId="ADAL" clId="{A5E95209-F3C6-4E74-8CB8-02615590C8FE}" dt="2021-11-24T17:23:56.204" v="824" actId="478"/>
          <ac:spMkLst>
            <pc:docMk/>
            <pc:sldMk cId="1859982411" sldId="737"/>
            <ac:spMk id="2" creationId="{CE84C4B4-3854-455B-858A-26F66DADDFE7}"/>
          </ac:spMkLst>
        </pc:spChg>
        <pc:spChg chg="add del mod">
          <ac:chgData name="Koenraad Polley" userId="2479f414-3073-4106-910c-320e929c4f8b" providerId="ADAL" clId="{A5E95209-F3C6-4E74-8CB8-02615590C8FE}" dt="2021-11-24T17:23:57.550" v="825" actId="478"/>
          <ac:spMkLst>
            <pc:docMk/>
            <pc:sldMk cId="1859982411" sldId="737"/>
            <ac:spMk id="5" creationId="{2B778845-60C7-48A1-A907-C1927E29D13C}"/>
          </ac:spMkLst>
        </pc:spChg>
        <pc:spChg chg="add del mod ord">
          <ac:chgData name="Koenraad Polley" userId="2479f414-3073-4106-910c-320e929c4f8b" providerId="ADAL" clId="{A5E95209-F3C6-4E74-8CB8-02615590C8FE}" dt="2021-11-24T17:24:46.682" v="829" actId="700"/>
          <ac:spMkLst>
            <pc:docMk/>
            <pc:sldMk cId="1859982411" sldId="737"/>
            <ac:spMk id="6" creationId="{FC08C38F-6BA2-4B0A-8640-7A3195BF385E}"/>
          </ac:spMkLst>
        </pc:spChg>
        <pc:spChg chg="add del mod ord">
          <ac:chgData name="Koenraad Polley" userId="2479f414-3073-4106-910c-320e929c4f8b" providerId="ADAL" clId="{A5E95209-F3C6-4E74-8CB8-02615590C8FE}" dt="2021-11-24T17:25:34.999" v="886" actId="478"/>
          <ac:spMkLst>
            <pc:docMk/>
            <pc:sldMk cId="1859982411" sldId="737"/>
            <ac:spMk id="7" creationId="{AEFC48DA-4CB7-456F-AA2C-7EE28C844BAF}"/>
          </ac:spMkLst>
        </pc:spChg>
        <pc:spChg chg="add mod ord">
          <ac:chgData name="Koenraad Polley" userId="2479f414-3073-4106-910c-320e929c4f8b" providerId="ADAL" clId="{A5E95209-F3C6-4E74-8CB8-02615590C8FE}" dt="2021-11-24T17:25:31.090" v="885" actId="20577"/>
          <ac:spMkLst>
            <pc:docMk/>
            <pc:sldMk cId="1859982411" sldId="737"/>
            <ac:spMk id="14" creationId="{E625D517-0787-4E18-9C87-AAD145EC182D}"/>
          </ac:spMkLst>
        </pc:spChg>
        <pc:spChg chg="add del mod">
          <ac:chgData name="Koenraad Polley" userId="2479f414-3073-4106-910c-320e929c4f8b" providerId="ADAL" clId="{A5E95209-F3C6-4E74-8CB8-02615590C8FE}" dt="2021-11-24T17:25:36.744" v="887" actId="478"/>
          <ac:spMkLst>
            <pc:docMk/>
            <pc:sldMk cId="1859982411" sldId="737"/>
            <ac:spMk id="16" creationId="{17F0A69C-0E2F-43A1-B464-A728459444A5}"/>
          </ac:spMkLst>
        </pc:spChg>
        <pc:spChg chg="del">
          <ac:chgData name="Koenraad Polley" userId="2479f414-3073-4106-910c-320e929c4f8b" providerId="ADAL" clId="{A5E95209-F3C6-4E74-8CB8-02615590C8FE}" dt="2021-11-24T17:23:51.187" v="822" actId="478"/>
          <ac:spMkLst>
            <pc:docMk/>
            <pc:sldMk cId="1859982411" sldId="737"/>
            <ac:spMk id="580" creationId="{335D34FB-24F4-4AE9-9C26-0B7096C965E9}"/>
          </ac:spMkLst>
        </pc:spChg>
        <pc:graphicFrameChg chg="del">
          <ac:chgData name="Koenraad Polley" userId="2479f414-3073-4106-910c-320e929c4f8b" providerId="ADAL" clId="{A5E95209-F3C6-4E74-8CB8-02615590C8FE}" dt="2021-11-24T17:23:54.586" v="823" actId="478"/>
          <ac:graphicFrameMkLst>
            <pc:docMk/>
            <pc:sldMk cId="1859982411" sldId="737"/>
            <ac:graphicFrameMk id="4" creationId="{6FECE6E7-F226-4998-A89D-952E36B0E46B}"/>
          </ac:graphicFrameMkLst>
        </pc:graphicFrameChg>
        <pc:graphicFrameChg chg="add del mod">
          <ac:chgData name="Koenraad Polley" userId="2479f414-3073-4106-910c-320e929c4f8b" providerId="ADAL" clId="{A5E95209-F3C6-4E74-8CB8-02615590C8FE}" dt="2021-11-24T17:25:09.976" v="831" actId="478"/>
          <ac:graphicFrameMkLst>
            <pc:docMk/>
            <pc:sldMk cId="1859982411" sldId="737"/>
            <ac:graphicFrameMk id="8" creationId="{F895E0F3-4F8F-4807-B8E4-020FFCE7D743}"/>
          </ac:graphicFrameMkLst>
        </pc:graphicFrameChg>
        <pc:picChg chg="add del mod">
          <ac:chgData name="Koenraad Polley" userId="2479f414-3073-4106-910c-320e929c4f8b" providerId="ADAL" clId="{A5E95209-F3C6-4E74-8CB8-02615590C8FE}" dt="2021-11-24T17:25:39.930" v="889" actId="478"/>
          <ac:picMkLst>
            <pc:docMk/>
            <pc:sldMk cId="1859982411" sldId="737"/>
            <ac:picMk id="9" creationId="{F760F946-6265-4BC8-B174-67807FC15B77}"/>
          </ac:picMkLst>
        </pc:picChg>
        <pc:picChg chg="add del mod">
          <ac:chgData name="Koenraad Polley" userId="2479f414-3073-4106-910c-320e929c4f8b" providerId="ADAL" clId="{A5E95209-F3C6-4E74-8CB8-02615590C8FE}" dt="2021-11-24T17:25:37.995" v="888" actId="478"/>
          <ac:picMkLst>
            <pc:docMk/>
            <pc:sldMk cId="1859982411" sldId="737"/>
            <ac:picMk id="10" creationId="{F9497332-1103-4F84-8E2E-EC8B6A3E7BB8}"/>
          </ac:picMkLst>
        </pc:picChg>
        <pc:picChg chg="add del mod">
          <ac:chgData name="Koenraad Polley" userId="2479f414-3073-4106-910c-320e929c4f8b" providerId="ADAL" clId="{A5E95209-F3C6-4E74-8CB8-02615590C8FE}" dt="2021-11-24T17:25:39.930" v="889" actId="478"/>
          <ac:picMkLst>
            <pc:docMk/>
            <pc:sldMk cId="1859982411" sldId="737"/>
            <ac:picMk id="11" creationId="{3918EF75-F1EB-4CEE-81E5-6289EB8124D8}"/>
          </ac:picMkLst>
        </pc:picChg>
        <pc:picChg chg="add del mod">
          <ac:chgData name="Koenraad Polley" userId="2479f414-3073-4106-910c-320e929c4f8b" providerId="ADAL" clId="{A5E95209-F3C6-4E74-8CB8-02615590C8FE}" dt="2021-11-24T17:25:39.930" v="889" actId="478"/>
          <ac:picMkLst>
            <pc:docMk/>
            <pc:sldMk cId="1859982411" sldId="737"/>
            <ac:picMk id="12" creationId="{9E097CB1-40EF-4E49-826D-D0C07E9592D2}"/>
          </ac:picMkLst>
        </pc:picChg>
        <pc:picChg chg="add del mod">
          <ac:chgData name="Koenraad Polley" userId="2479f414-3073-4106-910c-320e929c4f8b" providerId="ADAL" clId="{A5E95209-F3C6-4E74-8CB8-02615590C8FE}" dt="2021-11-24T17:25:39.930" v="889" actId="478"/>
          <ac:picMkLst>
            <pc:docMk/>
            <pc:sldMk cId="1859982411" sldId="737"/>
            <ac:picMk id="13" creationId="{3D9BDA53-2B9A-44D1-8E9C-6B36140595AD}"/>
          </ac:picMkLst>
        </pc:picChg>
      </pc:sldChg>
      <pc:sldChg chg="addSp delSp modSp add mod">
        <pc:chgData name="Koenraad Polley" userId="2479f414-3073-4106-910c-320e929c4f8b" providerId="ADAL" clId="{A5E95209-F3C6-4E74-8CB8-02615590C8FE}" dt="2021-11-25T08:00:05.177" v="1484" actId="167"/>
        <pc:sldMkLst>
          <pc:docMk/>
          <pc:sldMk cId="1479284567" sldId="738"/>
        </pc:sldMkLst>
        <pc:spChg chg="add del mod">
          <ac:chgData name="Koenraad Polley" userId="2479f414-3073-4106-910c-320e929c4f8b" providerId="ADAL" clId="{A5E95209-F3C6-4E74-8CB8-02615590C8FE}" dt="2021-11-24T17:26:07.544" v="893" actId="478"/>
          <ac:spMkLst>
            <pc:docMk/>
            <pc:sldMk cId="1479284567" sldId="738"/>
            <ac:spMk id="3" creationId="{E54AFFA1-69F9-4576-9095-0139C1E1AD97}"/>
          </ac:spMkLst>
        </pc:spChg>
        <pc:spChg chg="del">
          <ac:chgData name="Koenraad Polley" userId="2479f414-3073-4106-910c-320e929c4f8b" providerId="ADAL" clId="{A5E95209-F3C6-4E74-8CB8-02615590C8FE}" dt="2021-11-24T17:26:04.077" v="892" actId="478"/>
          <ac:spMkLst>
            <pc:docMk/>
            <pc:sldMk cId="1479284567" sldId="738"/>
            <ac:spMk id="7" creationId="{AEFC48DA-4CB7-456F-AA2C-7EE28C844BAF}"/>
          </ac:spMkLst>
        </pc:spChg>
        <pc:spChg chg="add mod">
          <ac:chgData name="Koenraad Polley" userId="2479f414-3073-4106-910c-320e929c4f8b" providerId="ADAL" clId="{A5E95209-F3C6-4E74-8CB8-02615590C8FE}" dt="2021-11-24T17:26:53.960" v="911" actId="1076"/>
          <ac:spMkLst>
            <pc:docMk/>
            <pc:sldMk cId="1479284567" sldId="738"/>
            <ac:spMk id="14" creationId="{2AD8FF34-0ADF-4997-9FAB-35E4E7DDA0DF}"/>
          </ac:spMkLst>
        </pc:spChg>
        <pc:graphicFrameChg chg="del mod modGraphic">
          <ac:chgData name="Koenraad Polley" userId="2479f414-3073-4106-910c-320e929c4f8b" providerId="ADAL" clId="{A5E95209-F3C6-4E74-8CB8-02615590C8FE}" dt="2021-11-25T07:58:31.950" v="1475" actId="478"/>
          <ac:graphicFrameMkLst>
            <pc:docMk/>
            <pc:sldMk cId="1479284567" sldId="738"/>
            <ac:graphicFrameMk id="8" creationId="{F895E0F3-4F8F-4807-B8E4-020FFCE7D743}"/>
          </ac:graphicFrameMkLst>
        </pc:graphicFrameChg>
        <pc:graphicFrameChg chg="add mod ord">
          <ac:chgData name="Koenraad Polley" userId="2479f414-3073-4106-910c-320e929c4f8b" providerId="ADAL" clId="{A5E95209-F3C6-4E74-8CB8-02615590C8FE}" dt="2021-11-25T08:00:05.177" v="1484" actId="167"/>
          <ac:graphicFrameMkLst>
            <pc:docMk/>
            <pc:sldMk cId="1479284567" sldId="738"/>
            <ac:graphicFrameMk id="15" creationId="{48F85B7D-975D-4E07-B295-A19155B35072}"/>
          </ac:graphicFrameMkLst>
        </pc:graphicFrameChg>
        <pc:picChg chg="mod ord">
          <ac:chgData name="Koenraad Polley" userId="2479f414-3073-4106-910c-320e929c4f8b" providerId="ADAL" clId="{A5E95209-F3C6-4E74-8CB8-02615590C8FE}" dt="2021-11-25T07:41:15.721" v="930" actId="14861"/>
          <ac:picMkLst>
            <pc:docMk/>
            <pc:sldMk cId="1479284567" sldId="738"/>
            <ac:picMk id="9" creationId="{F760F946-6265-4BC8-B174-67807FC15B77}"/>
          </ac:picMkLst>
        </pc:picChg>
        <pc:picChg chg="mod ord">
          <ac:chgData name="Koenraad Polley" userId="2479f414-3073-4106-910c-320e929c4f8b" providerId="ADAL" clId="{A5E95209-F3C6-4E74-8CB8-02615590C8FE}" dt="2021-11-25T07:41:15.721" v="930" actId="14861"/>
          <ac:picMkLst>
            <pc:docMk/>
            <pc:sldMk cId="1479284567" sldId="738"/>
            <ac:picMk id="10" creationId="{F9497332-1103-4F84-8E2E-EC8B6A3E7BB8}"/>
          </ac:picMkLst>
        </pc:picChg>
        <pc:picChg chg="mod ord">
          <ac:chgData name="Koenraad Polley" userId="2479f414-3073-4106-910c-320e929c4f8b" providerId="ADAL" clId="{A5E95209-F3C6-4E74-8CB8-02615590C8FE}" dt="2021-11-25T07:41:15.721" v="930" actId="14861"/>
          <ac:picMkLst>
            <pc:docMk/>
            <pc:sldMk cId="1479284567" sldId="738"/>
            <ac:picMk id="11" creationId="{3918EF75-F1EB-4CEE-81E5-6289EB8124D8}"/>
          </ac:picMkLst>
        </pc:picChg>
        <pc:picChg chg="mod">
          <ac:chgData name="Koenraad Polley" userId="2479f414-3073-4106-910c-320e929c4f8b" providerId="ADAL" clId="{A5E95209-F3C6-4E74-8CB8-02615590C8FE}" dt="2021-11-25T07:41:06.091" v="929" actId="14861"/>
          <ac:picMkLst>
            <pc:docMk/>
            <pc:sldMk cId="1479284567" sldId="738"/>
            <ac:picMk id="12" creationId="{9E097CB1-40EF-4E49-826D-D0C07E9592D2}"/>
          </ac:picMkLst>
        </pc:picChg>
        <pc:picChg chg="mod">
          <ac:chgData name="Koenraad Polley" userId="2479f414-3073-4106-910c-320e929c4f8b" providerId="ADAL" clId="{A5E95209-F3C6-4E74-8CB8-02615590C8FE}" dt="2021-11-25T07:41:00.931" v="928" actId="14861"/>
          <ac:picMkLst>
            <pc:docMk/>
            <pc:sldMk cId="1479284567" sldId="738"/>
            <ac:picMk id="13" creationId="{3D9BDA53-2B9A-44D1-8E9C-6B36140595AD}"/>
          </ac:picMkLst>
        </pc:picChg>
      </pc:sldChg>
      <pc:sldChg chg="delSp modSp add mod">
        <pc:chgData name="Koenraad Polley" userId="2479f414-3073-4106-910c-320e929c4f8b" providerId="ADAL" clId="{A5E95209-F3C6-4E74-8CB8-02615590C8FE}" dt="2021-11-26T10:51:25.027" v="4405" actId="20577"/>
        <pc:sldMkLst>
          <pc:docMk/>
          <pc:sldMk cId="1779970318" sldId="739"/>
        </pc:sldMkLst>
        <pc:spChg chg="mod">
          <ac:chgData name="Koenraad Polley" userId="2479f414-3073-4106-910c-320e929c4f8b" providerId="ADAL" clId="{A5E95209-F3C6-4E74-8CB8-02615590C8FE}" dt="2021-11-25T21:39:05.094" v="1712" actId="26606"/>
          <ac:spMkLst>
            <pc:docMk/>
            <pc:sldMk cId="1779970318" sldId="739"/>
            <ac:spMk id="14" creationId="{2AD8FF34-0ADF-4997-9FAB-35E4E7DDA0DF}"/>
          </ac:spMkLst>
        </pc:spChg>
        <pc:graphicFrameChg chg="mod ord modGraphic">
          <ac:chgData name="Koenraad Polley" userId="2479f414-3073-4106-910c-320e929c4f8b" providerId="ADAL" clId="{A5E95209-F3C6-4E74-8CB8-02615590C8FE}" dt="2021-11-26T10:51:25.027" v="4405" actId="20577"/>
          <ac:graphicFrameMkLst>
            <pc:docMk/>
            <pc:sldMk cId="1779970318" sldId="739"/>
            <ac:graphicFrameMk id="8" creationId="{F895E0F3-4F8F-4807-B8E4-020FFCE7D743}"/>
          </ac:graphicFrameMkLst>
        </pc:graphicFrameChg>
        <pc:picChg chg="del">
          <ac:chgData name="Koenraad Polley" userId="2479f414-3073-4106-910c-320e929c4f8b" providerId="ADAL" clId="{A5E95209-F3C6-4E74-8CB8-02615590C8FE}" dt="2021-11-25T07:41:31.288" v="931" actId="478"/>
          <ac:picMkLst>
            <pc:docMk/>
            <pc:sldMk cId="1779970318" sldId="739"/>
            <ac:picMk id="9" creationId="{F760F946-6265-4BC8-B174-67807FC15B77}"/>
          </ac:picMkLst>
        </pc:picChg>
        <pc:picChg chg="del">
          <ac:chgData name="Koenraad Polley" userId="2479f414-3073-4106-910c-320e929c4f8b" providerId="ADAL" clId="{A5E95209-F3C6-4E74-8CB8-02615590C8FE}" dt="2021-11-25T07:41:31.288" v="931" actId="478"/>
          <ac:picMkLst>
            <pc:docMk/>
            <pc:sldMk cId="1779970318" sldId="739"/>
            <ac:picMk id="10" creationId="{F9497332-1103-4F84-8E2E-EC8B6A3E7BB8}"/>
          </ac:picMkLst>
        </pc:picChg>
        <pc:picChg chg="del">
          <ac:chgData name="Koenraad Polley" userId="2479f414-3073-4106-910c-320e929c4f8b" providerId="ADAL" clId="{A5E95209-F3C6-4E74-8CB8-02615590C8FE}" dt="2021-11-25T07:41:31.288" v="931" actId="478"/>
          <ac:picMkLst>
            <pc:docMk/>
            <pc:sldMk cId="1779970318" sldId="739"/>
            <ac:picMk id="11" creationId="{3918EF75-F1EB-4CEE-81E5-6289EB8124D8}"/>
          </ac:picMkLst>
        </pc:picChg>
        <pc:picChg chg="del">
          <ac:chgData name="Koenraad Polley" userId="2479f414-3073-4106-910c-320e929c4f8b" providerId="ADAL" clId="{A5E95209-F3C6-4E74-8CB8-02615590C8FE}" dt="2021-11-25T07:41:32.929" v="932" actId="478"/>
          <ac:picMkLst>
            <pc:docMk/>
            <pc:sldMk cId="1779970318" sldId="739"/>
            <ac:picMk id="12" creationId="{9E097CB1-40EF-4E49-826D-D0C07E9592D2}"/>
          </ac:picMkLst>
        </pc:picChg>
        <pc:picChg chg="del">
          <ac:chgData name="Koenraad Polley" userId="2479f414-3073-4106-910c-320e929c4f8b" providerId="ADAL" clId="{A5E95209-F3C6-4E74-8CB8-02615590C8FE}" dt="2021-11-25T07:41:33.622" v="933" actId="478"/>
          <ac:picMkLst>
            <pc:docMk/>
            <pc:sldMk cId="1779970318" sldId="739"/>
            <ac:picMk id="13" creationId="{3D9BDA53-2B9A-44D1-8E9C-6B36140595AD}"/>
          </ac:picMkLst>
        </pc:picChg>
      </pc:sldChg>
      <pc:sldChg chg="add del">
        <pc:chgData name="Koenraad Polley" userId="2479f414-3073-4106-910c-320e929c4f8b" providerId="ADAL" clId="{A5E95209-F3C6-4E74-8CB8-02615590C8FE}" dt="2021-11-25T07:57:56.603" v="1474" actId="47"/>
        <pc:sldMkLst>
          <pc:docMk/>
          <pc:sldMk cId="967660685" sldId="740"/>
        </pc:sldMkLst>
      </pc:sldChg>
      <pc:sldChg chg="addSp delSp modSp add mod">
        <pc:chgData name="Koenraad Polley" userId="2479f414-3073-4106-910c-320e929c4f8b" providerId="ADAL" clId="{A5E95209-F3C6-4E74-8CB8-02615590C8FE}" dt="2021-11-25T22:41:12.490" v="3173" actId="20577"/>
        <pc:sldMkLst>
          <pc:docMk/>
          <pc:sldMk cId="2344496510" sldId="740"/>
        </pc:sldMkLst>
        <pc:spChg chg="mod">
          <ac:chgData name="Koenraad Polley" userId="2479f414-3073-4106-910c-320e929c4f8b" providerId="ADAL" clId="{A5E95209-F3C6-4E74-8CB8-02615590C8FE}" dt="2021-11-25T21:28:33.623" v="1633" actId="20577"/>
          <ac:spMkLst>
            <pc:docMk/>
            <pc:sldMk cId="2344496510" sldId="740"/>
            <ac:spMk id="14" creationId="{2AD8FF34-0ADF-4997-9FAB-35E4E7DDA0DF}"/>
          </ac:spMkLst>
        </pc:spChg>
        <pc:spChg chg="add del mod">
          <ac:chgData name="Koenraad Polley" userId="2479f414-3073-4106-910c-320e929c4f8b" providerId="ADAL" clId="{A5E95209-F3C6-4E74-8CB8-02615590C8FE}" dt="2021-11-25T22:12:44.828" v="2210" actId="478"/>
          <ac:spMkLst>
            <pc:docMk/>
            <pc:sldMk cId="2344496510" sldId="740"/>
            <ac:spMk id="17" creationId="{CFBE5292-EC02-4CA9-903F-77FB107C7416}"/>
          </ac:spMkLst>
        </pc:spChg>
        <pc:spChg chg="add del mod">
          <ac:chgData name="Koenraad Polley" userId="2479f414-3073-4106-910c-320e929c4f8b" providerId="ADAL" clId="{A5E95209-F3C6-4E74-8CB8-02615590C8FE}" dt="2021-11-25T22:12:53.074" v="2211" actId="478"/>
          <ac:spMkLst>
            <pc:docMk/>
            <pc:sldMk cId="2344496510" sldId="740"/>
            <ac:spMk id="21" creationId="{E3F2F5EC-8E23-4078-B48B-31348B390696}"/>
          </ac:spMkLst>
        </pc:spChg>
        <pc:graphicFrameChg chg="add mod modGraphic">
          <ac:chgData name="Koenraad Polley" userId="2479f414-3073-4106-910c-320e929c4f8b" providerId="ADAL" clId="{A5E95209-F3C6-4E74-8CB8-02615590C8FE}" dt="2021-11-25T22:41:12.490" v="3173" actId="20577"/>
          <ac:graphicFrameMkLst>
            <pc:docMk/>
            <pc:sldMk cId="2344496510" sldId="740"/>
            <ac:graphicFrameMk id="2" creationId="{10BA53B7-9803-47B6-9433-81C6B748F3B0}"/>
          </ac:graphicFrameMkLst>
        </pc:graphicFrameChg>
        <pc:graphicFrameChg chg="del">
          <ac:chgData name="Koenraad Polley" userId="2479f414-3073-4106-910c-320e929c4f8b" providerId="ADAL" clId="{A5E95209-F3C6-4E74-8CB8-02615590C8FE}" dt="2021-11-25T21:28:37.999" v="1634" actId="478"/>
          <ac:graphicFrameMkLst>
            <pc:docMk/>
            <pc:sldMk cId="2344496510" sldId="740"/>
            <ac:graphicFrameMk id="15" creationId="{48F85B7D-975D-4E07-B295-A19155B35072}"/>
          </ac:graphicFrameMkLst>
        </pc:graphicFrameChg>
        <pc:picChg chg="add mod">
          <ac:chgData name="Koenraad Polley" userId="2479f414-3073-4106-910c-320e929c4f8b" providerId="ADAL" clId="{A5E95209-F3C6-4E74-8CB8-02615590C8FE}" dt="2021-11-25T22:13:20.083" v="2217" actId="1076"/>
          <ac:picMkLst>
            <pc:docMk/>
            <pc:sldMk cId="2344496510" sldId="740"/>
            <ac:picMk id="4" creationId="{46817140-A451-4AD2-BDDD-72ADF527D1CD}"/>
          </ac:picMkLst>
        </pc:picChg>
        <pc:picChg chg="add mod">
          <ac:chgData name="Koenraad Polley" userId="2479f414-3073-4106-910c-320e929c4f8b" providerId="ADAL" clId="{A5E95209-F3C6-4E74-8CB8-02615590C8FE}" dt="2021-11-25T22:13:14.207" v="2216" actId="1037"/>
          <ac:picMkLst>
            <pc:docMk/>
            <pc:sldMk cId="2344496510" sldId="740"/>
            <ac:picMk id="6" creationId="{83A48267-4813-4ED7-921B-DB53C1F4F589}"/>
          </ac:picMkLst>
        </pc:picChg>
        <pc:picChg chg="add mod">
          <ac:chgData name="Koenraad Polley" userId="2479f414-3073-4106-910c-320e929c4f8b" providerId="ADAL" clId="{A5E95209-F3C6-4E74-8CB8-02615590C8FE}" dt="2021-11-25T22:13:10.848" v="2213" actId="1076"/>
          <ac:picMkLst>
            <pc:docMk/>
            <pc:sldMk cId="2344496510" sldId="740"/>
            <ac:picMk id="8" creationId="{38B99EFC-629C-4EF1-9708-E15C1C229232}"/>
          </ac:picMkLst>
        </pc:picChg>
        <pc:picChg chg="del">
          <ac:chgData name="Koenraad Polley" userId="2479f414-3073-4106-910c-320e929c4f8b" providerId="ADAL" clId="{A5E95209-F3C6-4E74-8CB8-02615590C8FE}" dt="2021-11-25T21:28:41.939" v="1636" actId="478"/>
          <ac:picMkLst>
            <pc:docMk/>
            <pc:sldMk cId="2344496510" sldId="740"/>
            <ac:picMk id="9" creationId="{F760F946-6265-4BC8-B174-67807FC15B77}"/>
          </ac:picMkLst>
        </pc:picChg>
        <pc:picChg chg="del">
          <ac:chgData name="Koenraad Polley" userId="2479f414-3073-4106-910c-320e929c4f8b" providerId="ADAL" clId="{A5E95209-F3C6-4E74-8CB8-02615590C8FE}" dt="2021-11-25T21:28:41.939" v="1636" actId="478"/>
          <ac:picMkLst>
            <pc:docMk/>
            <pc:sldMk cId="2344496510" sldId="740"/>
            <ac:picMk id="10" creationId="{F9497332-1103-4F84-8E2E-EC8B6A3E7BB8}"/>
          </ac:picMkLst>
        </pc:picChg>
        <pc:picChg chg="del">
          <ac:chgData name="Koenraad Polley" userId="2479f414-3073-4106-910c-320e929c4f8b" providerId="ADAL" clId="{A5E95209-F3C6-4E74-8CB8-02615590C8FE}" dt="2021-11-25T21:28:39.072" v="1635" actId="478"/>
          <ac:picMkLst>
            <pc:docMk/>
            <pc:sldMk cId="2344496510" sldId="740"/>
            <ac:picMk id="11" creationId="{3918EF75-F1EB-4CEE-81E5-6289EB8124D8}"/>
          </ac:picMkLst>
        </pc:picChg>
        <pc:picChg chg="del">
          <ac:chgData name="Koenraad Polley" userId="2479f414-3073-4106-910c-320e929c4f8b" providerId="ADAL" clId="{A5E95209-F3C6-4E74-8CB8-02615590C8FE}" dt="2021-11-25T21:28:44.001" v="1637" actId="478"/>
          <ac:picMkLst>
            <pc:docMk/>
            <pc:sldMk cId="2344496510" sldId="740"/>
            <ac:picMk id="12" creationId="{9E097CB1-40EF-4E49-826D-D0C07E9592D2}"/>
          </ac:picMkLst>
        </pc:picChg>
        <pc:picChg chg="del">
          <ac:chgData name="Koenraad Polley" userId="2479f414-3073-4106-910c-320e929c4f8b" providerId="ADAL" clId="{A5E95209-F3C6-4E74-8CB8-02615590C8FE}" dt="2021-11-25T21:28:44.001" v="1637" actId="478"/>
          <ac:picMkLst>
            <pc:docMk/>
            <pc:sldMk cId="2344496510" sldId="740"/>
            <ac:picMk id="13" creationId="{3D9BDA53-2B9A-44D1-8E9C-6B36140595AD}"/>
          </ac:picMkLst>
        </pc:picChg>
        <pc:picChg chg="add mod">
          <ac:chgData name="Koenraad Polley" userId="2479f414-3073-4106-910c-320e929c4f8b" providerId="ADAL" clId="{A5E95209-F3C6-4E74-8CB8-02615590C8FE}" dt="2021-11-25T22:13:40.855" v="2222" actId="1076"/>
          <ac:picMkLst>
            <pc:docMk/>
            <pc:sldMk cId="2344496510" sldId="740"/>
            <ac:picMk id="16" creationId="{6469D46F-E5C9-4956-9989-A1D59F50AF28}"/>
          </ac:picMkLst>
        </pc:picChg>
        <pc:picChg chg="add mod">
          <ac:chgData name="Koenraad Polley" userId="2479f414-3073-4106-910c-320e929c4f8b" providerId="ADAL" clId="{A5E95209-F3C6-4E74-8CB8-02615590C8FE}" dt="2021-11-25T22:13:25.802" v="2220" actId="1037"/>
          <ac:picMkLst>
            <pc:docMk/>
            <pc:sldMk cId="2344496510" sldId="740"/>
            <ac:picMk id="19" creationId="{34163454-F385-4804-AA7B-E7B71028B2BC}"/>
          </ac:picMkLst>
        </pc:picChg>
      </pc:sldChg>
      <pc:sldChg chg="modSp add mod">
        <pc:chgData name="Koenraad Polley" userId="2479f414-3073-4106-910c-320e929c4f8b" providerId="ADAL" clId="{A5E95209-F3C6-4E74-8CB8-02615590C8FE}" dt="2021-11-25T21:39:45.555" v="1799" actId="20577"/>
        <pc:sldMkLst>
          <pc:docMk/>
          <pc:sldMk cId="3630818270" sldId="741"/>
        </pc:sldMkLst>
        <pc:spChg chg="mod">
          <ac:chgData name="Koenraad Polley" userId="2479f414-3073-4106-910c-320e929c4f8b" providerId="ADAL" clId="{A5E95209-F3C6-4E74-8CB8-02615590C8FE}" dt="2021-11-25T21:39:45.555" v="1799" actId="20577"/>
          <ac:spMkLst>
            <pc:docMk/>
            <pc:sldMk cId="3630818270" sldId="741"/>
            <ac:spMk id="14" creationId="{E625D517-0787-4E18-9C87-AAD145EC182D}"/>
          </ac:spMkLst>
        </pc:spChg>
      </pc:sldChg>
      <pc:sldChg chg="addSp delSp modSp add mod">
        <pc:chgData name="Koenraad Polley" userId="2479f414-3073-4106-910c-320e929c4f8b" providerId="ADAL" clId="{A5E95209-F3C6-4E74-8CB8-02615590C8FE}" dt="2021-11-25T22:29:59.272" v="2788" actId="20577"/>
        <pc:sldMkLst>
          <pc:docMk/>
          <pc:sldMk cId="3004095854" sldId="742"/>
        </pc:sldMkLst>
        <pc:spChg chg="add mod">
          <ac:chgData name="Koenraad Polley" userId="2479f414-3073-4106-910c-320e929c4f8b" providerId="ADAL" clId="{A5E95209-F3C6-4E74-8CB8-02615590C8FE}" dt="2021-11-25T22:16:58.138" v="2234" actId="14100"/>
          <ac:spMkLst>
            <pc:docMk/>
            <pc:sldMk cId="3004095854" sldId="742"/>
            <ac:spMk id="7" creationId="{DEC39D75-EA93-4596-B936-FC89C449B79A}"/>
          </ac:spMkLst>
        </pc:spChg>
        <pc:spChg chg="add mod">
          <ac:chgData name="Koenraad Polley" userId="2479f414-3073-4106-910c-320e929c4f8b" providerId="ADAL" clId="{A5E95209-F3C6-4E74-8CB8-02615590C8FE}" dt="2021-11-25T22:29:12.289" v="2735" actId="179"/>
          <ac:spMkLst>
            <pc:docMk/>
            <pc:sldMk cId="3004095854" sldId="742"/>
            <ac:spMk id="9" creationId="{07F670AA-8641-49E9-94D3-794ACF4EAE25}"/>
          </ac:spMkLst>
        </pc:spChg>
        <pc:spChg chg="add mod">
          <ac:chgData name="Koenraad Polley" userId="2479f414-3073-4106-910c-320e929c4f8b" providerId="ADAL" clId="{A5E95209-F3C6-4E74-8CB8-02615590C8FE}" dt="2021-11-25T22:29:17.551" v="2736" actId="1076"/>
          <ac:spMkLst>
            <pc:docMk/>
            <pc:sldMk cId="3004095854" sldId="742"/>
            <ac:spMk id="10" creationId="{EF706239-72E4-41DE-B6CE-036A77FA77D2}"/>
          </ac:spMkLst>
        </pc:spChg>
        <pc:spChg chg="mod">
          <ac:chgData name="Koenraad Polley" userId="2479f414-3073-4106-910c-320e929c4f8b" providerId="ADAL" clId="{A5E95209-F3C6-4E74-8CB8-02615590C8FE}" dt="2021-11-25T22:29:59.272" v="2788" actId="20577"/>
          <ac:spMkLst>
            <pc:docMk/>
            <pc:sldMk cId="3004095854" sldId="742"/>
            <ac:spMk id="14" creationId="{2AD8FF34-0ADF-4997-9FAB-35E4E7DDA0DF}"/>
          </ac:spMkLst>
        </pc:spChg>
        <pc:graphicFrameChg chg="del">
          <ac:chgData name="Koenraad Polley" userId="2479f414-3073-4106-910c-320e929c4f8b" providerId="ADAL" clId="{A5E95209-F3C6-4E74-8CB8-02615590C8FE}" dt="2021-11-25T22:13:58.087" v="2224" actId="478"/>
          <ac:graphicFrameMkLst>
            <pc:docMk/>
            <pc:sldMk cId="3004095854" sldId="742"/>
            <ac:graphicFrameMk id="2" creationId="{10BA53B7-9803-47B6-9433-81C6B748F3B0}"/>
          </ac:graphicFrameMkLst>
        </pc:graphicFrameChg>
        <pc:picChg chg="del">
          <ac:chgData name="Koenraad Polley" userId="2479f414-3073-4106-910c-320e929c4f8b" providerId="ADAL" clId="{A5E95209-F3C6-4E74-8CB8-02615590C8FE}" dt="2021-11-25T22:13:58.087" v="2224" actId="478"/>
          <ac:picMkLst>
            <pc:docMk/>
            <pc:sldMk cId="3004095854" sldId="742"/>
            <ac:picMk id="4" creationId="{46817140-A451-4AD2-BDDD-72ADF527D1CD}"/>
          </ac:picMkLst>
        </pc:picChg>
        <pc:picChg chg="add mod">
          <ac:chgData name="Koenraad Polley" userId="2479f414-3073-4106-910c-320e929c4f8b" providerId="ADAL" clId="{A5E95209-F3C6-4E74-8CB8-02615590C8FE}" dt="2021-11-25T22:29:36.959" v="2770" actId="1038"/>
          <ac:picMkLst>
            <pc:docMk/>
            <pc:sldMk cId="3004095854" sldId="742"/>
            <ac:picMk id="5" creationId="{600A8B61-4E7C-4591-80AE-E93E8BE591E4}"/>
          </ac:picMkLst>
        </pc:picChg>
        <pc:picChg chg="del">
          <ac:chgData name="Koenraad Polley" userId="2479f414-3073-4106-910c-320e929c4f8b" providerId="ADAL" clId="{A5E95209-F3C6-4E74-8CB8-02615590C8FE}" dt="2021-11-25T22:13:58.087" v="2224" actId="478"/>
          <ac:picMkLst>
            <pc:docMk/>
            <pc:sldMk cId="3004095854" sldId="742"/>
            <ac:picMk id="6" creationId="{83A48267-4813-4ED7-921B-DB53C1F4F589}"/>
          </ac:picMkLst>
        </pc:picChg>
        <pc:picChg chg="del">
          <ac:chgData name="Koenraad Polley" userId="2479f414-3073-4106-910c-320e929c4f8b" providerId="ADAL" clId="{A5E95209-F3C6-4E74-8CB8-02615590C8FE}" dt="2021-11-25T22:13:58.087" v="2224" actId="478"/>
          <ac:picMkLst>
            <pc:docMk/>
            <pc:sldMk cId="3004095854" sldId="742"/>
            <ac:picMk id="8" creationId="{38B99EFC-629C-4EF1-9708-E15C1C229232}"/>
          </ac:picMkLst>
        </pc:picChg>
        <pc:picChg chg="del">
          <ac:chgData name="Koenraad Polley" userId="2479f414-3073-4106-910c-320e929c4f8b" providerId="ADAL" clId="{A5E95209-F3C6-4E74-8CB8-02615590C8FE}" dt="2021-11-25T22:13:59.067" v="2225" actId="478"/>
          <ac:picMkLst>
            <pc:docMk/>
            <pc:sldMk cId="3004095854" sldId="742"/>
            <ac:picMk id="16" creationId="{6469D46F-E5C9-4956-9989-A1D59F50AF28}"/>
          </ac:picMkLst>
        </pc:picChg>
        <pc:picChg chg="del">
          <ac:chgData name="Koenraad Polley" userId="2479f414-3073-4106-910c-320e929c4f8b" providerId="ADAL" clId="{A5E95209-F3C6-4E74-8CB8-02615590C8FE}" dt="2021-11-25T22:13:58.087" v="2224" actId="478"/>
          <ac:picMkLst>
            <pc:docMk/>
            <pc:sldMk cId="3004095854" sldId="742"/>
            <ac:picMk id="19" creationId="{34163454-F385-4804-AA7B-E7B71028B2BC}"/>
          </ac:picMkLst>
        </pc:picChg>
      </pc:sldChg>
      <pc:sldChg chg="modSp add mod">
        <pc:chgData name="Koenraad Polley" userId="2479f414-3073-4106-910c-320e929c4f8b" providerId="ADAL" clId="{A5E95209-F3C6-4E74-8CB8-02615590C8FE}" dt="2021-11-25T22:31:33.266" v="2886" actId="20577"/>
        <pc:sldMkLst>
          <pc:docMk/>
          <pc:sldMk cId="105864737" sldId="743"/>
        </pc:sldMkLst>
        <pc:spChg chg="mod">
          <ac:chgData name="Koenraad Polley" userId="2479f414-3073-4106-910c-320e929c4f8b" providerId="ADAL" clId="{A5E95209-F3C6-4E74-8CB8-02615590C8FE}" dt="2021-11-25T22:31:33.266" v="2886" actId="20577"/>
          <ac:spMkLst>
            <pc:docMk/>
            <pc:sldMk cId="105864737" sldId="743"/>
            <ac:spMk id="14" creationId="{E625D517-0787-4E18-9C87-AAD145EC182D}"/>
          </ac:spMkLst>
        </pc:spChg>
      </pc:sldChg>
      <pc:sldChg chg="addSp delSp modSp add mod">
        <pc:chgData name="Koenraad Polley" userId="2479f414-3073-4106-910c-320e929c4f8b" providerId="ADAL" clId="{A5E95209-F3C6-4E74-8CB8-02615590C8FE}" dt="2021-11-25T22:39:07.074" v="3148" actId="1076"/>
        <pc:sldMkLst>
          <pc:docMk/>
          <pc:sldMk cId="776059573" sldId="744"/>
        </pc:sldMkLst>
        <pc:spChg chg="add mod">
          <ac:chgData name="Koenraad Polley" userId="2479f414-3073-4106-910c-320e929c4f8b" providerId="ADAL" clId="{A5E95209-F3C6-4E74-8CB8-02615590C8FE}" dt="2021-11-25T22:38:59.899" v="3147" actId="1076"/>
          <ac:spMkLst>
            <pc:docMk/>
            <pc:sldMk cId="776059573" sldId="744"/>
            <ac:spMk id="3" creationId="{732D1F45-5DD0-4C20-B4A6-E086E0EE7718}"/>
          </ac:spMkLst>
        </pc:spChg>
        <pc:spChg chg="add mod">
          <ac:chgData name="Koenraad Polley" userId="2479f414-3073-4106-910c-320e929c4f8b" providerId="ADAL" clId="{A5E95209-F3C6-4E74-8CB8-02615590C8FE}" dt="2021-11-25T22:38:59.899" v="3147" actId="1076"/>
          <ac:spMkLst>
            <pc:docMk/>
            <pc:sldMk cId="776059573" sldId="744"/>
            <ac:spMk id="4" creationId="{F7246B55-1688-46B9-9E34-45230B729FCE}"/>
          </ac:spMkLst>
        </pc:spChg>
        <pc:spChg chg="del">
          <ac:chgData name="Koenraad Polley" userId="2479f414-3073-4106-910c-320e929c4f8b" providerId="ADAL" clId="{A5E95209-F3C6-4E74-8CB8-02615590C8FE}" dt="2021-11-25T22:31:44.292" v="2889" actId="478"/>
          <ac:spMkLst>
            <pc:docMk/>
            <pc:sldMk cId="776059573" sldId="744"/>
            <ac:spMk id="7" creationId="{DEC39D75-EA93-4596-B936-FC89C449B79A}"/>
          </ac:spMkLst>
        </pc:spChg>
        <pc:spChg chg="add del mod">
          <ac:chgData name="Koenraad Polley" userId="2479f414-3073-4106-910c-320e929c4f8b" providerId="ADAL" clId="{A5E95209-F3C6-4E74-8CB8-02615590C8FE}" dt="2021-11-25T22:38:51.712" v="3146" actId="478"/>
          <ac:spMkLst>
            <pc:docMk/>
            <pc:sldMk cId="776059573" sldId="744"/>
            <ac:spMk id="8" creationId="{C664C003-C529-487B-9C59-B044AF8BD95D}"/>
          </ac:spMkLst>
        </pc:spChg>
        <pc:spChg chg="mod">
          <ac:chgData name="Koenraad Polley" userId="2479f414-3073-4106-910c-320e929c4f8b" providerId="ADAL" clId="{A5E95209-F3C6-4E74-8CB8-02615590C8FE}" dt="2021-11-25T22:35:36.601" v="2950" actId="6549"/>
          <ac:spMkLst>
            <pc:docMk/>
            <pc:sldMk cId="776059573" sldId="744"/>
            <ac:spMk id="9" creationId="{07F670AA-8641-49E9-94D3-794ACF4EAE25}"/>
          </ac:spMkLst>
        </pc:spChg>
        <pc:spChg chg="del">
          <ac:chgData name="Koenraad Polley" userId="2479f414-3073-4106-910c-320e929c4f8b" providerId="ADAL" clId="{A5E95209-F3C6-4E74-8CB8-02615590C8FE}" dt="2021-11-25T22:31:46.682" v="2890" actId="478"/>
          <ac:spMkLst>
            <pc:docMk/>
            <pc:sldMk cId="776059573" sldId="744"/>
            <ac:spMk id="10" creationId="{EF706239-72E4-41DE-B6CE-036A77FA77D2}"/>
          </ac:spMkLst>
        </pc:spChg>
        <pc:spChg chg="add del mod">
          <ac:chgData name="Koenraad Polley" userId="2479f414-3073-4106-910c-320e929c4f8b" providerId="ADAL" clId="{A5E95209-F3C6-4E74-8CB8-02615590C8FE}" dt="2021-11-25T22:35:40.228" v="2952" actId="478"/>
          <ac:spMkLst>
            <pc:docMk/>
            <pc:sldMk cId="776059573" sldId="744"/>
            <ac:spMk id="11" creationId="{9A04F6B2-9000-4F26-890F-E8F5CC26014D}"/>
          </ac:spMkLst>
        </pc:spChg>
        <pc:spChg chg="add mod">
          <ac:chgData name="Koenraad Polley" userId="2479f414-3073-4106-910c-320e929c4f8b" providerId="ADAL" clId="{A5E95209-F3C6-4E74-8CB8-02615590C8FE}" dt="2021-11-25T22:38:59.899" v="3147" actId="1076"/>
          <ac:spMkLst>
            <pc:docMk/>
            <pc:sldMk cId="776059573" sldId="744"/>
            <ac:spMk id="12" creationId="{121235DB-DF83-4BDD-AF81-D46FE3BB9F1E}"/>
          </ac:spMkLst>
        </pc:spChg>
        <pc:spChg chg="add mod">
          <ac:chgData name="Koenraad Polley" userId="2479f414-3073-4106-910c-320e929c4f8b" providerId="ADAL" clId="{A5E95209-F3C6-4E74-8CB8-02615590C8FE}" dt="2021-11-25T22:38:59.899" v="3147" actId="1076"/>
          <ac:spMkLst>
            <pc:docMk/>
            <pc:sldMk cId="776059573" sldId="744"/>
            <ac:spMk id="13" creationId="{ECDDA7F3-9E0A-4B2C-B88A-A6B47285D78D}"/>
          </ac:spMkLst>
        </pc:spChg>
        <pc:spChg chg="mod">
          <ac:chgData name="Koenraad Polley" userId="2479f414-3073-4106-910c-320e929c4f8b" providerId="ADAL" clId="{A5E95209-F3C6-4E74-8CB8-02615590C8FE}" dt="2021-11-25T22:32:48.201" v="2912" actId="20577"/>
          <ac:spMkLst>
            <pc:docMk/>
            <pc:sldMk cId="776059573" sldId="744"/>
            <ac:spMk id="14" creationId="{2AD8FF34-0ADF-4997-9FAB-35E4E7DDA0DF}"/>
          </ac:spMkLst>
        </pc:spChg>
        <pc:spChg chg="add mod">
          <ac:chgData name="Koenraad Polley" userId="2479f414-3073-4106-910c-320e929c4f8b" providerId="ADAL" clId="{A5E95209-F3C6-4E74-8CB8-02615590C8FE}" dt="2021-11-25T22:39:07.074" v="3148" actId="1076"/>
          <ac:spMkLst>
            <pc:docMk/>
            <pc:sldMk cId="776059573" sldId="744"/>
            <ac:spMk id="15" creationId="{92C0D6B5-7858-452C-8523-4B72E505CFF5}"/>
          </ac:spMkLst>
        </pc:spChg>
        <pc:spChg chg="add mod">
          <ac:chgData name="Koenraad Polley" userId="2479f414-3073-4106-910c-320e929c4f8b" providerId="ADAL" clId="{A5E95209-F3C6-4E74-8CB8-02615590C8FE}" dt="2021-11-25T22:38:59.899" v="3147" actId="1076"/>
          <ac:spMkLst>
            <pc:docMk/>
            <pc:sldMk cId="776059573" sldId="744"/>
            <ac:spMk id="16" creationId="{B0F6D5ED-E0F9-4A5E-8AD4-4ED7D9456DAB}"/>
          </ac:spMkLst>
        </pc:spChg>
        <pc:picChg chg="del">
          <ac:chgData name="Koenraad Polley" userId="2479f414-3073-4106-910c-320e929c4f8b" providerId="ADAL" clId="{A5E95209-F3C6-4E74-8CB8-02615590C8FE}" dt="2021-11-25T22:31:43.275" v="2888" actId="478"/>
          <ac:picMkLst>
            <pc:docMk/>
            <pc:sldMk cId="776059573" sldId="744"/>
            <ac:picMk id="5" creationId="{600A8B61-4E7C-4591-80AE-E93E8BE591E4}"/>
          </ac:picMkLst>
        </pc:picChg>
      </pc:sldChg>
      <pc:sldChg chg="addSp delSp modSp add mod modNotesTx">
        <pc:chgData name="Koenraad Polley" userId="2479f414-3073-4106-910c-320e929c4f8b" providerId="ADAL" clId="{A5E95209-F3C6-4E74-8CB8-02615590C8FE}" dt="2021-11-26T10:49:10.735" v="4372" actId="20577"/>
        <pc:sldMkLst>
          <pc:docMk/>
          <pc:sldMk cId="2746537259" sldId="745"/>
        </pc:sldMkLst>
        <pc:spChg chg="del">
          <ac:chgData name="Koenraad Polley" userId="2479f414-3073-4106-910c-320e929c4f8b" providerId="ADAL" clId="{A5E95209-F3C6-4E74-8CB8-02615590C8FE}" dt="2021-11-25T22:39:33.952" v="3161" actId="478"/>
          <ac:spMkLst>
            <pc:docMk/>
            <pc:sldMk cId="2746537259" sldId="745"/>
            <ac:spMk id="3" creationId="{732D1F45-5DD0-4C20-B4A6-E086E0EE7718}"/>
          </ac:spMkLst>
        </pc:spChg>
        <pc:spChg chg="del">
          <ac:chgData name="Koenraad Polley" userId="2479f414-3073-4106-910c-320e929c4f8b" providerId="ADAL" clId="{A5E95209-F3C6-4E74-8CB8-02615590C8FE}" dt="2021-11-25T22:39:33.952" v="3161" actId="478"/>
          <ac:spMkLst>
            <pc:docMk/>
            <pc:sldMk cId="2746537259" sldId="745"/>
            <ac:spMk id="4" creationId="{F7246B55-1688-46B9-9E34-45230B729FCE}"/>
          </ac:spMkLst>
        </pc:spChg>
        <pc:spChg chg="add mod">
          <ac:chgData name="Koenraad Polley" userId="2479f414-3073-4106-910c-320e929c4f8b" providerId="ADAL" clId="{A5E95209-F3C6-4E74-8CB8-02615590C8FE}" dt="2021-11-25T22:49:15.839" v="3477" actId="1076"/>
          <ac:spMkLst>
            <pc:docMk/>
            <pc:sldMk cId="2746537259" sldId="745"/>
            <ac:spMk id="5" creationId="{78BC7505-110D-4D02-AA32-CA652D7E5311}"/>
          </ac:spMkLst>
        </pc:spChg>
        <pc:spChg chg="del">
          <ac:chgData name="Koenraad Polley" userId="2479f414-3073-4106-910c-320e929c4f8b" providerId="ADAL" clId="{A5E95209-F3C6-4E74-8CB8-02615590C8FE}" dt="2021-11-25T22:39:33.952" v="3161" actId="478"/>
          <ac:spMkLst>
            <pc:docMk/>
            <pc:sldMk cId="2746537259" sldId="745"/>
            <ac:spMk id="9" creationId="{07F670AA-8641-49E9-94D3-794ACF4EAE25}"/>
          </ac:spMkLst>
        </pc:spChg>
        <pc:spChg chg="add mod">
          <ac:chgData name="Koenraad Polley" userId="2479f414-3073-4106-910c-320e929c4f8b" providerId="ADAL" clId="{A5E95209-F3C6-4E74-8CB8-02615590C8FE}" dt="2021-11-25T22:52:12.234" v="3569" actId="20577"/>
          <ac:spMkLst>
            <pc:docMk/>
            <pc:sldMk cId="2746537259" sldId="745"/>
            <ac:spMk id="11" creationId="{11F4D198-D3CE-4835-8591-82404E004FE6}"/>
          </ac:spMkLst>
        </pc:spChg>
        <pc:spChg chg="del">
          <ac:chgData name="Koenraad Polley" userId="2479f414-3073-4106-910c-320e929c4f8b" providerId="ADAL" clId="{A5E95209-F3C6-4E74-8CB8-02615590C8FE}" dt="2021-11-25T22:39:33.952" v="3161" actId="478"/>
          <ac:spMkLst>
            <pc:docMk/>
            <pc:sldMk cId="2746537259" sldId="745"/>
            <ac:spMk id="12" creationId="{121235DB-DF83-4BDD-AF81-D46FE3BB9F1E}"/>
          </ac:spMkLst>
        </pc:spChg>
        <pc:spChg chg="del">
          <ac:chgData name="Koenraad Polley" userId="2479f414-3073-4106-910c-320e929c4f8b" providerId="ADAL" clId="{A5E95209-F3C6-4E74-8CB8-02615590C8FE}" dt="2021-11-25T22:39:33.952" v="3161" actId="478"/>
          <ac:spMkLst>
            <pc:docMk/>
            <pc:sldMk cId="2746537259" sldId="745"/>
            <ac:spMk id="13" creationId="{ECDDA7F3-9E0A-4B2C-B88A-A6B47285D78D}"/>
          </ac:spMkLst>
        </pc:spChg>
        <pc:spChg chg="mod">
          <ac:chgData name="Koenraad Polley" userId="2479f414-3073-4106-910c-320e929c4f8b" providerId="ADAL" clId="{A5E95209-F3C6-4E74-8CB8-02615590C8FE}" dt="2021-11-25T22:46:13.235" v="3386" actId="20577"/>
          <ac:spMkLst>
            <pc:docMk/>
            <pc:sldMk cId="2746537259" sldId="745"/>
            <ac:spMk id="14" creationId="{2AD8FF34-0ADF-4997-9FAB-35E4E7DDA0DF}"/>
          </ac:spMkLst>
        </pc:spChg>
        <pc:spChg chg="del">
          <ac:chgData name="Koenraad Polley" userId="2479f414-3073-4106-910c-320e929c4f8b" providerId="ADAL" clId="{A5E95209-F3C6-4E74-8CB8-02615590C8FE}" dt="2021-11-25T22:39:33.952" v="3161" actId="478"/>
          <ac:spMkLst>
            <pc:docMk/>
            <pc:sldMk cId="2746537259" sldId="745"/>
            <ac:spMk id="15" creationId="{92C0D6B5-7858-452C-8523-4B72E505CFF5}"/>
          </ac:spMkLst>
        </pc:spChg>
        <pc:spChg chg="del">
          <ac:chgData name="Koenraad Polley" userId="2479f414-3073-4106-910c-320e929c4f8b" providerId="ADAL" clId="{A5E95209-F3C6-4E74-8CB8-02615590C8FE}" dt="2021-11-25T22:39:33.952" v="3161" actId="478"/>
          <ac:spMkLst>
            <pc:docMk/>
            <pc:sldMk cId="2746537259" sldId="745"/>
            <ac:spMk id="16" creationId="{B0F6D5ED-E0F9-4A5E-8AD4-4ED7D9456DAB}"/>
          </ac:spMkLst>
        </pc:spChg>
        <pc:spChg chg="add mod">
          <ac:chgData name="Koenraad Polley" userId="2479f414-3073-4106-910c-320e929c4f8b" providerId="ADAL" clId="{A5E95209-F3C6-4E74-8CB8-02615590C8FE}" dt="2021-11-25T22:51:25.429" v="3537" actId="1076"/>
          <ac:spMkLst>
            <pc:docMk/>
            <pc:sldMk cId="2746537259" sldId="745"/>
            <ac:spMk id="28" creationId="{B66684C8-E544-466D-8D8E-4D89A3B1F116}"/>
          </ac:spMkLst>
        </pc:spChg>
        <pc:graphicFrameChg chg="add mod modGraphic">
          <ac:chgData name="Koenraad Polley" userId="2479f414-3073-4106-910c-320e929c4f8b" providerId="ADAL" clId="{A5E95209-F3C6-4E74-8CB8-02615590C8FE}" dt="2021-11-25T22:51:52.364" v="3557" actId="20577"/>
          <ac:graphicFrameMkLst>
            <pc:docMk/>
            <pc:sldMk cId="2746537259" sldId="745"/>
            <ac:graphicFrameMk id="2" creationId="{F6C3F0C8-5E34-4339-95E1-2F7EDC190F5D}"/>
          </ac:graphicFrameMkLst>
        </pc:graphicFrameChg>
        <pc:cxnChg chg="add del mod">
          <ac:chgData name="Koenraad Polley" userId="2479f414-3073-4106-910c-320e929c4f8b" providerId="ADAL" clId="{A5E95209-F3C6-4E74-8CB8-02615590C8FE}" dt="2021-11-25T22:48:58.960" v="3476" actId="478"/>
          <ac:cxnSpMkLst>
            <pc:docMk/>
            <pc:sldMk cId="2746537259" sldId="745"/>
            <ac:cxnSpMk id="7" creationId="{9AC81CCD-A817-4471-B22D-00086FBAC189}"/>
          </ac:cxnSpMkLst>
        </pc:cxnChg>
        <pc:cxnChg chg="add mod">
          <ac:chgData name="Koenraad Polley" userId="2479f414-3073-4106-910c-320e929c4f8b" providerId="ADAL" clId="{A5E95209-F3C6-4E74-8CB8-02615590C8FE}" dt="2021-11-25T22:50:05.403" v="3487" actId="14100"/>
          <ac:cxnSpMkLst>
            <pc:docMk/>
            <pc:sldMk cId="2746537259" sldId="745"/>
            <ac:cxnSpMk id="19" creationId="{8B12FFEA-974A-486A-A3DF-51D9A25AEE94}"/>
          </ac:cxnSpMkLst>
        </pc:cxnChg>
        <pc:cxnChg chg="add mod">
          <ac:chgData name="Koenraad Polley" userId="2479f414-3073-4106-910c-320e929c4f8b" providerId="ADAL" clId="{A5E95209-F3C6-4E74-8CB8-02615590C8FE}" dt="2021-11-25T22:50:25.409" v="3491" actId="1076"/>
          <ac:cxnSpMkLst>
            <pc:docMk/>
            <pc:sldMk cId="2746537259" sldId="745"/>
            <ac:cxnSpMk id="26" creationId="{37437C4B-30B8-4E5F-9350-83E6ADD6C598}"/>
          </ac:cxnSpMkLst>
        </pc:cxnChg>
      </pc:sldChg>
      <pc:sldChg chg="modSp add mod">
        <pc:chgData name="Koenraad Polley" userId="2479f414-3073-4106-910c-320e929c4f8b" providerId="ADAL" clId="{A5E95209-F3C6-4E74-8CB8-02615590C8FE}" dt="2021-11-25T22:52:36.128" v="3582" actId="20577"/>
        <pc:sldMkLst>
          <pc:docMk/>
          <pc:sldMk cId="1867511487" sldId="746"/>
        </pc:sldMkLst>
        <pc:spChg chg="mod">
          <ac:chgData name="Koenraad Polley" userId="2479f414-3073-4106-910c-320e929c4f8b" providerId="ADAL" clId="{A5E95209-F3C6-4E74-8CB8-02615590C8FE}" dt="2021-11-25T22:52:36.128" v="3582" actId="20577"/>
          <ac:spMkLst>
            <pc:docMk/>
            <pc:sldMk cId="1867511487" sldId="746"/>
            <ac:spMk id="14" creationId="{E625D517-0787-4E18-9C87-AAD145EC182D}"/>
          </ac:spMkLst>
        </pc:spChg>
      </pc:sldChg>
      <pc:sldChg chg="addSp delSp modSp add mod modNotesTx">
        <pc:chgData name="Koenraad Polley" userId="2479f414-3073-4106-910c-320e929c4f8b" providerId="ADAL" clId="{A5E95209-F3C6-4E74-8CB8-02615590C8FE}" dt="2021-11-29T08:13:18.116" v="4477" actId="1076"/>
        <pc:sldMkLst>
          <pc:docMk/>
          <pc:sldMk cId="3811457648" sldId="747"/>
        </pc:sldMkLst>
        <pc:spChg chg="del">
          <ac:chgData name="Koenraad Polley" userId="2479f414-3073-4106-910c-320e929c4f8b" providerId="ADAL" clId="{A5E95209-F3C6-4E74-8CB8-02615590C8FE}" dt="2021-11-25T22:53:04.945" v="3600" actId="478"/>
          <ac:spMkLst>
            <pc:docMk/>
            <pc:sldMk cId="3811457648" sldId="747"/>
            <ac:spMk id="5" creationId="{78BC7505-110D-4D02-AA32-CA652D7E5311}"/>
          </ac:spMkLst>
        </pc:spChg>
        <pc:spChg chg="add mod ord">
          <ac:chgData name="Koenraad Polley" userId="2479f414-3073-4106-910c-320e929c4f8b" providerId="ADAL" clId="{A5E95209-F3C6-4E74-8CB8-02615590C8FE}" dt="2021-11-26T10:56:03.015" v="4420" actId="167"/>
          <ac:spMkLst>
            <pc:docMk/>
            <pc:sldMk cId="3811457648" sldId="747"/>
            <ac:spMk id="6" creationId="{51FE8CF0-EC80-4A71-B0CC-B2150AA2DAF4}"/>
          </ac:spMkLst>
        </pc:spChg>
        <pc:spChg chg="del">
          <ac:chgData name="Koenraad Polley" userId="2479f414-3073-4106-910c-320e929c4f8b" providerId="ADAL" clId="{A5E95209-F3C6-4E74-8CB8-02615590C8FE}" dt="2021-11-25T22:52:58.624" v="3598" actId="478"/>
          <ac:spMkLst>
            <pc:docMk/>
            <pc:sldMk cId="3811457648" sldId="747"/>
            <ac:spMk id="11" creationId="{11F4D198-D3CE-4835-8591-82404E004FE6}"/>
          </ac:spMkLst>
        </pc:spChg>
        <pc:spChg chg="mod">
          <ac:chgData name="Koenraad Polley" userId="2479f414-3073-4106-910c-320e929c4f8b" providerId="ADAL" clId="{A5E95209-F3C6-4E74-8CB8-02615590C8FE}" dt="2021-11-25T22:55:28.214" v="3635" actId="20577"/>
          <ac:spMkLst>
            <pc:docMk/>
            <pc:sldMk cId="3811457648" sldId="747"/>
            <ac:spMk id="14" creationId="{2AD8FF34-0ADF-4997-9FAB-35E4E7DDA0DF}"/>
          </ac:spMkLst>
        </pc:spChg>
        <pc:spChg chg="del">
          <ac:chgData name="Koenraad Polley" userId="2479f414-3073-4106-910c-320e929c4f8b" providerId="ADAL" clId="{A5E95209-F3C6-4E74-8CB8-02615590C8FE}" dt="2021-11-25T22:53:04.945" v="3600" actId="478"/>
          <ac:spMkLst>
            <pc:docMk/>
            <pc:sldMk cId="3811457648" sldId="747"/>
            <ac:spMk id="28" creationId="{B66684C8-E544-466D-8D8E-4D89A3B1F116}"/>
          </ac:spMkLst>
        </pc:spChg>
        <pc:graphicFrameChg chg="del">
          <ac:chgData name="Koenraad Polley" userId="2479f414-3073-4106-910c-320e929c4f8b" providerId="ADAL" clId="{A5E95209-F3C6-4E74-8CB8-02615590C8FE}" dt="2021-11-25T22:53:02.665" v="3599" actId="478"/>
          <ac:graphicFrameMkLst>
            <pc:docMk/>
            <pc:sldMk cId="3811457648" sldId="747"/>
            <ac:graphicFrameMk id="2" creationId="{F6C3F0C8-5E34-4339-95E1-2F7EDC190F5D}"/>
          </ac:graphicFrameMkLst>
        </pc:graphicFrameChg>
        <pc:graphicFrameChg chg="add del mod modGraphic">
          <ac:chgData name="Koenraad Polley" userId="2479f414-3073-4106-910c-320e929c4f8b" providerId="ADAL" clId="{A5E95209-F3C6-4E74-8CB8-02615590C8FE}" dt="2021-11-25T22:55:17.534" v="3605" actId="478"/>
          <ac:graphicFrameMkLst>
            <pc:docMk/>
            <pc:sldMk cId="3811457648" sldId="747"/>
            <ac:graphicFrameMk id="3" creationId="{60A29389-0263-4CF5-95E1-25A9997AD0CB}"/>
          </ac:graphicFrameMkLst>
        </pc:graphicFrameChg>
        <pc:graphicFrameChg chg="add mod modGraphic">
          <ac:chgData name="Koenraad Polley" userId="2479f414-3073-4106-910c-320e929c4f8b" providerId="ADAL" clId="{A5E95209-F3C6-4E74-8CB8-02615590C8FE}" dt="2021-11-29T08:13:18.116" v="4477" actId="1076"/>
          <ac:graphicFrameMkLst>
            <pc:docMk/>
            <pc:sldMk cId="3811457648" sldId="747"/>
            <ac:graphicFrameMk id="4" creationId="{67D93B70-A0CB-4626-BA1A-AC382C78D2DC}"/>
          </ac:graphicFrameMkLst>
        </pc:graphicFrameChg>
        <pc:cxnChg chg="del mod">
          <ac:chgData name="Koenraad Polley" userId="2479f414-3073-4106-910c-320e929c4f8b" providerId="ADAL" clId="{A5E95209-F3C6-4E74-8CB8-02615590C8FE}" dt="2021-11-25T22:53:04.945" v="3600" actId="478"/>
          <ac:cxnSpMkLst>
            <pc:docMk/>
            <pc:sldMk cId="3811457648" sldId="747"/>
            <ac:cxnSpMk id="19" creationId="{8B12FFEA-974A-486A-A3DF-51D9A25AEE94}"/>
          </ac:cxnSpMkLst>
        </pc:cxnChg>
        <pc:cxnChg chg="del">
          <ac:chgData name="Koenraad Polley" userId="2479f414-3073-4106-910c-320e929c4f8b" providerId="ADAL" clId="{A5E95209-F3C6-4E74-8CB8-02615590C8FE}" dt="2021-11-25T22:53:04.945" v="3600" actId="478"/>
          <ac:cxnSpMkLst>
            <pc:docMk/>
            <pc:sldMk cId="3811457648" sldId="747"/>
            <ac:cxnSpMk id="26" creationId="{37437C4B-30B8-4E5F-9350-83E6ADD6C598}"/>
          </ac:cxnSpMkLst>
        </pc:cxnChg>
      </pc:sldChg>
      <pc:sldChg chg="addSp delSp modSp add mod">
        <pc:chgData name="Koenraad Polley" userId="2479f414-3073-4106-910c-320e929c4f8b" providerId="ADAL" clId="{A5E95209-F3C6-4E74-8CB8-02615590C8FE}" dt="2021-11-25T23:13:10.339" v="4307" actId="1035"/>
        <pc:sldMkLst>
          <pc:docMk/>
          <pc:sldMk cId="2399048257" sldId="748"/>
        </pc:sldMkLst>
        <pc:spChg chg="add mod">
          <ac:chgData name="Koenraad Polley" userId="2479f414-3073-4106-910c-320e929c4f8b" providerId="ADAL" clId="{A5E95209-F3C6-4E74-8CB8-02615590C8FE}" dt="2021-11-25T23:06:19.788" v="4093"/>
          <ac:spMkLst>
            <pc:docMk/>
            <pc:sldMk cId="2399048257" sldId="748"/>
            <ac:spMk id="5" creationId="{EDC259C2-11D9-4592-BC3B-14C011B349C7}"/>
          </ac:spMkLst>
        </pc:spChg>
        <pc:spChg chg="add mod">
          <ac:chgData name="Koenraad Polley" userId="2479f414-3073-4106-910c-320e929c4f8b" providerId="ADAL" clId="{A5E95209-F3C6-4E74-8CB8-02615590C8FE}" dt="2021-11-25T23:12:38.509" v="4262" actId="20577"/>
          <ac:spMkLst>
            <pc:docMk/>
            <pc:sldMk cId="2399048257" sldId="748"/>
            <ac:spMk id="6" creationId="{9169CC46-B620-4F92-9F86-68C1FB4B7D8D}"/>
          </ac:spMkLst>
        </pc:spChg>
        <pc:spChg chg="add mod">
          <ac:chgData name="Koenraad Polley" userId="2479f414-3073-4106-910c-320e929c4f8b" providerId="ADAL" clId="{A5E95209-F3C6-4E74-8CB8-02615590C8FE}" dt="2021-11-25T23:11:13.137" v="4193" actId="108"/>
          <ac:spMkLst>
            <pc:docMk/>
            <pc:sldMk cId="2399048257" sldId="748"/>
            <ac:spMk id="8" creationId="{A42558F2-7B6E-480A-88A1-6A49D3FE4587}"/>
          </ac:spMkLst>
        </pc:spChg>
        <pc:spChg chg="add mod">
          <ac:chgData name="Koenraad Polley" userId="2479f414-3073-4106-910c-320e929c4f8b" providerId="ADAL" clId="{A5E95209-F3C6-4E74-8CB8-02615590C8FE}" dt="2021-11-25T23:11:19.164" v="4194" actId="108"/>
          <ac:spMkLst>
            <pc:docMk/>
            <pc:sldMk cId="2399048257" sldId="748"/>
            <ac:spMk id="9" creationId="{690A76F0-2D2E-4A6A-A3E9-E24E85F49A3C}"/>
          </ac:spMkLst>
        </pc:spChg>
        <pc:spChg chg="add mod">
          <ac:chgData name="Koenraad Polley" userId="2479f414-3073-4106-910c-320e929c4f8b" providerId="ADAL" clId="{A5E95209-F3C6-4E74-8CB8-02615590C8FE}" dt="2021-11-25T23:07:14.490" v="4114"/>
          <ac:spMkLst>
            <pc:docMk/>
            <pc:sldMk cId="2399048257" sldId="748"/>
            <ac:spMk id="11" creationId="{1CE63550-C84E-41D8-8D14-E2EA8957F2E5}"/>
          </ac:spMkLst>
        </pc:spChg>
        <pc:spChg chg="add mod">
          <ac:chgData name="Koenraad Polley" userId="2479f414-3073-4106-910c-320e929c4f8b" providerId="ADAL" clId="{A5E95209-F3C6-4E74-8CB8-02615590C8FE}" dt="2021-11-25T23:12:55.556" v="4290" actId="20577"/>
          <ac:spMkLst>
            <pc:docMk/>
            <pc:sldMk cId="2399048257" sldId="748"/>
            <ac:spMk id="12" creationId="{AA1A3BFA-4E01-47A2-B0B1-E6042EA8DE68}"/>
          </ac:spMkLst>
        </pc:spChg>
        <pc:spChg chg="mod">
          <ac:chgData name="Koenraad Polley" userId="2479f414-3073-4106-910c-320e929c4f8b" providerId="ADAL" clId="{A5E95209-F3C6-4E74-8CB8-02615590C8FE}" dt="2021-11-25T23:11:59.551" v="4220" actId="1076"/>
          <ac:spMkLst>
            <pc:docMk/>
            <pc:sldMk cId="2399048257" sldId="748"/>
            <ac:spMk id="14" creationId="{2AD8FF34-0ADF-4997-9FAB-35E4E7DDA0DF}"/>
          </ac:spMkLst>
        </pc:spChg>
        <pc:spChg chg="add mod">
          <ac:chgData name="Koenraad Polley" userId="2479f414-3073-4106-910c-320e929c4f8b" providerId="ADAL" clId="{A5E95209-F3C6-4E74-8CB8-02615590C8FE}" dt="2021-11-25T23:08:18.354" v="4152"/>
          <ac:spMkLst>
            <pc:docMk/>
            <pc:sldMk cId="2399048257" sldId="748"/>
            <ac:spMk id="15" creationId="{D47786B7-43EC-4B46-A28D-08FE12BC9BE4}"/>
          </ac:spMkLst>
        </pc:spChg>
        <pc:spChg chg="add mod">
          <ac:chgData name="Koenraad Polley" userId="2479f414-3073-4106-910c-320e929c4f8b" providerId="ADAL" clId="{A5E95209-F3C6-4E74-8CB8-02615590C8FE}" dt="2021-11-25T23:08:36.503" v="4172" actId="403"/>
          <ac:spMkLst>
            <pc:docMk/>
            <pc:sldMk cId="2399048257" sldId="748"/>
            <ac:spMk id="16" creationId="{EFF17E34-EFB9-4FD7-9DC4-172D08DD643D}"/>
          </ac:spMkLst>
        </pc:spChg>
        <pc:spChg chg="add mod">
          <ac:chgData name="Koenraad Polley" userId="2479f414-3073-4106-910c-320e929c4f8b" providerId="ADAL" clId="{A5E95209-F3C6-4E74-8CB8-02615590C8FE}" dt="2021-11-25T23:09:06.951" v="4178"/>
          <ac:spMkLst>
            <pc:docMk/>
            <pc:sldMk cId="2399048257" sldId="748"/>
            <ac:spMk id="18" creationId="{39770BB4-8BED-41B4-8CEF-3D312F57A3E5}"/>
          </ac:spMkLst>
        </pc:spChg>
        <pc:spChg chg="add mod">
          <ac:chgData name="Koenraad Polley" userId="2479f414-3073-4106-910c-320e929c4f8b" providerId="ADAL" clId="{A5E95209-F3C6-4E74-8CB8-02615590C8FE}" dt="2021-11-25T23:09:06.951" v="4178"/>
          <ac:spMkLst>
            <pc:docMk/>
            <pc:sldMk cId="2399048257" sldId="748"/>
            <ac:spMk id="19" creationId="{3475CA83-260C-492D-81C0-14193D5EE531}"/>
          </ac:spMkLst>
        </pc:spChg>
        <pc:spChg chg="add mod">
          <ac:chgData name="Koenraad Polley" userId="2479f414-3073-4106-910c-320e929c4f8b" providerId="ADAL" clId="{A5E95209-F3C6-4E74-8CB8-02615590C8FE}" dt="2021-11-25T23:09:10.782" v="4179"/>
          <ac:spMkLst>
            <pc:docMk/>
            <pc:sldMk cId="2399048257" sldId="748"/>
            <ac:spMk id="21" creationId="{5437D2BE-B44D-4AA6-9340-1424CD44FD58}"/>
          </ac:spMkLst>
        </pc:spChg>
        <pc:spChg chg="add mod">
          <ac:chgData name="Koenraad Polley" userId="2479f414-3073-4106-910c-320e929c4f8b" providerId="ADAL" clId="{A5E95209-F3C6-4E74-8CB8-02615590C8FE}" dt="2021-11-25T23:09:10.782" v="4179"/>
          <ac:spMkLst>
            <pc:docMk/>
            <pc:sldMk cId="2399048257" sldId="748"/>
            <ac:spMk id="22" creationId="{07E68614-7C20-4976-B93C-6CE7F6B9D32A}"/>
          </ac:spMkLst>
        </pc:spChg>
        <pc:spChg chg="add mod">
          <ac:chgData name="Koenraad Polley" userId="2479f414-3073-4106-910c-320e929c4f8b" providerId="ADAL" clId="{A5E95209-F3C6-4E74-8CB8-02615590C8FE}" dt="2021-11-25T23:09:35.274" v="4186"/>
          <ac:spMkLst>
            <pc:docMk/>
            <pc:sldMk cId="2399048257" sldId="748"/>
            <ac:spMk id="24" creationId="{F6909843-9709-4794-B63E-161BF1EE9A5A}"/>
          </ac:spMkLst>
        </pc:spChg>
        <pc:spChg chg="add mod">
          <ac:chgData name="Koenraad Polley" userId="2479f414-3073-4106-910c-320e929c4f8b" providerId="ADAL" clId="{A5E95209-F3C6-4E74-8CB8-02615590C8FE}" dt="2021-11-25T23:09:35.274" v="4186"/>
          <ac:spMkLst>
            <pc:docMk/>
            <pc:sldMk cId="2399048257" sldId="748"/>
            <ac:spMk id="25" creationId="{0E3B3D0D-55B5-459A-A3CF-FBA1944D4D49}"/>
          </ac:spMkLst>
        </pc:spChg>
        <pc:spChg chg="mod">
          <ac:chgData name="Koenraad Polley" userId="2479f414-3073-4106-910c-320e929c4f8b" providerId="ADAL" clId="{A5E95209-F3C6-4E74-8CB8-02615590C8FE}" dt="2021-11-25T23:10:54.296" v="4191"/>
          <ac:spMkLst>
            <pc:docMk/>
            <pc:sldMk cId="2399048257" sldId="748"/>
            <ac:spMk id="27" creationId="{42207352-612E-4139-A7BE-777073379975}"/>
          </ac:spMkLst>
        </pc:spChg>
        <pc:spChg chg="mod">
          <ac:chgData name="Koenraad Polley" userId="2479f414-3073-4106-910c-320e929c4f8b" providerId="ADAL" clId="{A5E95209-F3C6-4E74-8CB8-02615590C8FE}" dt="2021-11-25T23:11:34.579" v="4217" actId="14100"/>
          <ac:spMkLst>
            <pc:docMk/>
            <pc:sldMk cId="2399048257" sldId="748"/>
            <ac:spMk id="28" creationId="{48913661-28D7-4FBC-8322-CC4E538E50E9}"/>
          </ac:spMkLst>
        </pc:spChg>
        <pc:grpChg chg="add mod">
          <ac:chgData name="Koenraad Polley" userId="2479f414-3073-4106-910c-320e929c4f8b" providerId="ADAL" clId="{A5E95209-F3C6-4E74-8CB8-02615590C8FE}" dt="2021-11-25T23:13:10.339" v="4307" actId="1035"/>
          <ac:grpSpMkLst>
            <pc:docMk/>
            <pc:sldMk cId="2399048257" sldId="748"/>
            <ac:grpSpMk id="4" creationId="{8C7FBBFB-9821-4135-9365-EADD858BDC42}"/>
          </ac:grpSpMkLst>
        </pc:grpChg>
        <pc:grpChg chg="add mod">
          <ac:chgData name="Koenraad Polley" userId="2479f414-3073-4106-910c-320e929c4f8b" providerId="ADAL" clId="{A5E95209-F3C6-4E74-8CB8-02615590C8FE}" dt="2021-11-25T23:13:10.339" v="4307" actId="1035"/>
          <ac:grpSpMkLst>
            <pc:docMk/>
            <pc:sldMk cId="2399048257" sldId="748"/>
            <ac:grpSpMk id="7" creationId="{20832C9C-8C95-4D11-89C5-B8EDABFF3588}"/>
          </ac:grpSpMkLst>
        </pc:grpChg>
        <pc:grpChg chg="add mod">
          <ac:chgData name="Koenraad Polley" userId="2479f414-3073-4106-910c-320e929c4f8b" providerId="ADAL" clId="{A5E95209-F3C6-4E74-8CB8-02615590C8FE}" dt="2021-11-25T23:13:10.339" v="4307" actId="1035"/>
          <ac:grpSpMkLst>
            <pc:docMk/>
            <pc:sldMk cId="2399048257" sldId="748"/>
            <ac:grpSpMk id="10" creationId="{22822B2F-15DA-4D28-9080-702828D91F92}"/>
          </ac:grpSpMkLst>
        </pc:grpChg>
        <pc:grpChg chg="add mod">
          <ac:chgData name="Koenraad Polley" userId="2479f414-3073-4106-910c-320e929c4f8b" providerId="ADAL" clId="{A5E95209-F3C6-4E74-8CB8-02615590C8FE}" dt="2021-11-25T23:13:10.339" v="4307" actId="1035"/>
          <ac:grpSpMkLst>
            <pc:docMk/>
            <pc:sldMk cId="2399048257" sldId="748"/>
            <ac:grpSpMk id="13" creationId="{49DB1838-B57A-40F9-9036-2AFFE42134A0}"/>
          </ac:grpSpMkLst>
        </pc:grpChg>
        <pc:grpChg chg="add mod">
          <ac:chgData name="Koenraad Polley" userId="2479f414-3073-4106-910c-320e929c4f8b" providerId="ADAL" clId="{A5E95209-F3C6-4E74-8CB8-02615590C8FE}" dt="2021-11-25T23:13:10.339" v="4307" actId="1035"/>
          <ac:grpSpMkLst>
            <pc:docMk/>
            <pc:sldMk cId="2399048257" sldId="748"/>
            <ac:grpSpMk id="17" creationId="{B7EDB297-25F8-46BB-88D7-749D206903D3}"/>
          </ac:grpSpMkLst>
        </pc:grpChg>
        <pc:grpChg chg="add mod">
          <ac:chgData name="Koenraad Polley" userId="2479f414-3073-4106-910c-320e929c4f8b" providerId="ADAL" clId="{A5E95209-F3C6-4E74-8CB8-02615590C8FE}" dt="2021-11-25T23:13:10.339" v="4307" actId="1035"/>
          <ac:grpSpMkLst>
            <pc:docMk/>
            <pc:sldMk cId="2399048257" sldId="748"/>
            <ac:grpSpMk id="20" creationId="{CFE2290C-5F0C-4940-9D4C-EC06284379E2}"/>
          </ac:grpSpMkLst>
        </pc:grpChg>
        <pc:grpChg chg="add mod">
          <ac:chgData name="Koenraad Polley" userId="2479f414-3073-4106-910c-320e929c4f8b" providerId="ADAL" clId="{A5E95209-F3C6-4E74-8CB8-02615590C8FE}" dt="2021-11-25T23:13:10.339" v="4307" actId="1035"/>
          <ac:grpSpMkLst>
            <pc:docMk/>
            <pc:sldMk cId="2399048257" sldId="748"/>
            <ac:grpSpMk id="23" creationId="{6A7B6EA5-2394-46DD-BDBB-9FAE8956D833}"/>
          </ac:grpSpMkLst>
        </pc:grpChg>
        <pc:grpChg chg="add mod">
          <ac:chgData name="Koenraad Polley" userId="2479f414-3073-4106-910c-320e929c4f8b" providerId="ADAL" clId="{A5E95209-F3C6-4E74-8CB8-02615590C8FE}" dt="2021-11-25T23:13:10.339" v="4307" actId="1035"/>
          <ac:grpSpMkLst>
            <pc:docMk/>
            <pc:sldMk cId="2399048257" sldId="748"/>
            <ac:grpSpMk id="26" creationId="{5A4AEB78-A92F-4DAD-A2A1-1B2A01C1D5D1}"/>
          </ac:grpSpMkLst>
        </pc:grpChg>
        <pc:graphicFrameChg chg="add del mod modGraphic">
          <ac:chgData name="Koenraad Polley" userId="2479f414-3073-4106-910c-320e929c4f8b" providerId="ADAL" clId="{A5E95209-F3C6-4E74-8CB8-02615590C8FE}" dt="2021-11-25T23:09:45.601" v="4188" actId="478"/>
          <ac:graphicFrameMkLst>
            <pc:docMk/>
            <pc:sldMk cId="2399048257" sldId="748"/>
            <ac:graphicFrameMk id="2" creationId="{66035AA4-7B10-4916-8276-5BEE8DD670D5}"/>
          </ac:graphicFrameMkLst>
        </pc:graphicFrameChg>
      </pc:sldChg>
    </pc:docChg>
  </pc:docChgLst>
  <pc:docChgLst>
    <pc:chgData name="Jan Luts" userId="S::janluts1@emeal.nttdata.com::59aaf1cb-05c8-485c-9247-1aa0e27fc0e8" providerId="AD" clId="Web-{575FBAA8-D198-4DFE-DFEE-60C9787FC8AF}"/>
    <pc:docChg chg="modSld">
      <pc:chgData name="Jan Luts" userId="S::janluts1@emeal.nttdata.com::59aaf1cb-05c8-485c-9247-1aa0e27fc0e8" providerId="AD" clId="Web-{575FBAA8-D198-4DFE-DFEE-60C9787FC8AF}" dt="2021-11-26T09:31:22.612" v="215"/>
      <pc:docMkLst>
        <pc:docMk/>
      </pc:docMkLst>
      <pc:sldChg chg="modNotes">
        <pc:chgData name="Jan Luts" userId="S::janluts1@emeal.nttdata.com::59aaf1cb-05c8-485c-9247-1aa0e27fc0e8" providerId="AD" clId="Web-{575FBAA8-D198-4DFE-DFEE-60C9787FC8AF}" dt="2021-11-26T09:31:22.612" v="215"/>
        <pc:sldMkLst>
          <pc:docMk/>
          <pc:sldMk cId="1779970318" sldId="739"/>
        </pc:sldMkLst>
      </pc:sldChg>
      <pc:sldChg chg="modNotes">
        <pc:chgData name="Jan Luts" userId="S::janluts1@emeal.nttdata.com::59aaf1cb-05c8-485c-9247-1aa0e27fc0e8" providerId="AD" clId="Web-{575FBAA8-D198-4DFE-DFEE-60C9787FC8AF}" dt="2021-11-26T09:10:40.236" v="16"/>
        <pc:sldMkLst>
          <pc:docMk/>
          <pc:sldMk cId="2746537259" sldId="745"/>
        </pc:sldMkLst>
      </pc:sldChg>
      <pc:sldChg chg="modNotes">
        <pc:chgData name="Jan Luts" userId="S::janluts1@emeal.nttdata.com::59aaf1cb-05c8-485c-9247-1aa0e27fc0e8" providerId="AD" clId="Web-{575FBAA8-D198-4DFE-DFEE-60C9787FC8AF}" dt="2021-11-26T09:15:36.282" v="67"/>
        <pc:sldMkLst>
          <pc:docMk/>
          <pc:sldMk cId="3811457648" sldId="747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solidFill>
              <a:srgbClr val="3F85C1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E6-4DD5-A0F8-566FDD6863B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S 2</c:v>
                </c:pt>
              </c:strCache>
            </c:strRef>
          </c:tx>
          <c:spPr>
            <a:solidFill>
              <a:srgbClr val="76B861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0E6-4DD5-A0F8-566FDD6863B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S 3</c:v>
                </c:pt>
              </c:strCache>
            </c:strRef>
          </c:tx>
          <c:spPr>
            <a:solidFill>
              <a:srgbClr val="CF3558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0E6-4DD5-A0F8-566FDD6863B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S 4</c:v>
                </c:pt>
              </c:strCache>
            </c:strRef>
          </c:tx>
          <c:spPr>
            <a:solidFill>
              <a:srgbClr val="2AAD89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5</c:v>
                </c:pt>
                <c:pt idx="1">
                  <c:v>7</c:v>
                </c:pt>
                <c:pt idx="2">
                  <c:v>4</c:v>
                </c:pt>
                <c:pt idx="3">
                  <c:v>2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0E6-4DD5-A0F8-566FDD6863B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S 5</c:v>
                </c:pt>
              </c:strCache>
            </c:strRef>
          </c:tx>
          <c:spPr>
            <a:solidFill>
              <a:srgbClr val="C04790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  <c:pt idx="0">
                  <c:v>6</c:v>
                </c:pt>
                <c:pt idx="1">
                  <c:v>8</c:v>
                </c:pt>
                <c:pt idx="2">
                  <c:v>3</c:v>
                </c:pt>
                <c:pt idx="3">
                  <c:v>1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0E6-4DD5-A0F8-566FDD6863B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MS 6</c:v>
                </c:pt>
              </c:strCache>
            </c:strRef>
          </c:tx>
          <c:spPr>
            <a:solidFill>
              <a:srgbClr val="EE8032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G$2:$G$6</c:f>
              <c:numCache>
                <c:formatCode>General</c:formatCode>
                <c:ptCount val="5"/>
                <c:pt idx="0">
                  <c:v>5</c:v>
                </c:pt>
                <c:pt idx="1">
                  <c:v>4</c:v>
                </c:pt>
                <c:pt idx="2">
                  <c:v>3</c:v>
                </c:pt>
                <c:pt idx="3">
                  <c:v>2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0E6-4DD5-A0F8-566FDD6863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7547904"/>
        <c:axId val="67549440"/>
      </c:barChart>
      <c:catAx>
        <c:axId val="6754790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rgbClr val="3F85C1"/>
            </a:solidFill>
          </a:ln>
        </c:spPr>
        <c:txPr>
          <a:bodyPr/>
          <a:lstStyle/>
          <a:p>
            <a:pPr>
              <a:defRPr>
                <a:latin typeface="EC Square Sans Pro" panose="020B0506040000020004" pitchFamily="34" charset="0"/>
              </a:defRPr>
            </a:pPr>
            <a:endParaRPr lang="en-US"/>
          </a:p>
        </c:txPr>
        <c:crossAx val="67549440"/>
        <c:crosses val="autoZero"/>
        <c:auto val="1"/>
        <c:lblAlgn val="ctr"/>
        <c:lblOffset val="100"/>
        <c:noMultiLvlLbl val="0"/>
      </c:catAx>
      <c:valAx>
        <c:axId val="67549440"/>
        <c:scaling>
          <c:orientation val="minMax"/>
        </c:scaling>
        <c:delete val="0"/>
        <c:axPos val="l"/>
        <c:majorGridlines>
          <c:spPr>
            <a:ln w="3175"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3F85C1"/>
            </a:solidFill>
          </a:ln>
        </c:spPr>
        <c:txPr>
          <a:bodyPr/>
          <a:lstStyle/>
          <a:p>
            <a:pPr>
              <a:defRPr>
                <a:latin typeface="EC Square Sans Pro" panose="020B0506040000020004" pitchFamily="34" charset="0"/>
              </a:defRPr>
            </a:pPr>
            <a:endParaRPr lang="en-US"/>
          </a:p>
        </c:txPr>
        <c:crossAx val="67547904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7CC19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EE9-4624-808B-9D544938BA2D}"/>
              </c:ext>
            </c:extLst>
          </c:dPt>
          <c:dPt>
            <c:idx val="1"/>
            <c:bubble3D val="0"/>
            <c:spPr>
              <a:solidFill>
                <a:srgbClr val="CF355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EE9-4624-808B-9D544938BA2D}"/>
              </c:ext>
            </c:extLst>
          </c:dPt>
          <c:dPt>
            <c:idx val="2"/>
            <c:bubble3D val="0"/>
            <c:spPr>
              <a:solidFill>
                <a:srgbClr val="C0479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EEE9-4624-808B-9D544938BA2D}"/>
              </c:ext>
            </c:extLst>
          </c:dPt>
          <c:dPt>
            <c:idx val="3"/>
            <c:bubble3D val="0"/>
            <c:spPr>
              <a:solidFill>
                <a:srgbClr val="3F85C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EEE9-4624-808B-9D544938BA2D}"/>
              </c:ext>
            </c:extLst>
          </c:dPt>
          <c:dPt>
            <c:idx val="4"/>
            <c:bubble3D val="0"/>
            <c:spPr>
              <a:solidFill>
                <a:srgbClr val="76B86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EEE9-4624-808B-9D544938BA2D}"/>
              </c:ext>
            </c:extLst>
          </c:dPt>
          <c:dPt>
            <c:idx val="5"/>
            <c:bubble3D val="0"/>
            <c:spPr>
              <a:solidFill>
                <a:srgbClr val="EE80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EEE9-4624-808B-9D544938BA2D}"/>
              </c:ext>
            </c:extLst>
          </c:dPt>
          <c:cat>
            <c:strRef>
              <c:f>Sheet1!$A$2:$A$7</c:f>
              <c:strCache>
                <c:ptCount val="6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  <c:pt idx="5">
                  <c:v>Action F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EE9-4624-808B-9D544938BA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solidFill>
              <a:srgbClr val="3F85C1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E6-4DD5-A0F8-566FDD6863B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S 2</c:v>
                </c:pt>
              </c:strCache>
            </c:strRef>
          </c:tx>
          <c:spPr>
            <a:solidFill>
              <a:srgbClr val="76B861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0E6-4DD5-A0F8-566FDD6863B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S 3</c:v>
                </c:pt>
              </c:strCache>
            </c:strRef>
          </c:tx>
          <c:spPr>
            <a:solidFill>
              <a:srgbClr val="CF3558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0E6-4DD5-A0F8-566FDD6863B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S 4</c:v>
                </c:pt>
              </c:strCache>
            </c:strRef>
          </c:tx>
          <c:spPr>
            <a:solidFill>
              <a:srgbClr val="2AAD89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5</c:v>
                </c:pt>
                <c:pt idx="1">
                  <c:v>7</c:v>
                </c:pt>
                <c:pt idx="2">
                  <c:v>4</c:v>
                </c:pt>
                <c:pt idx="3">
                  <c:v>2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0E6-4DD5-A0F8-566FDD6863B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S 5</c:v>
                </c:pt>
              </c:strCache>
            </c:strRef>
          </c:tx>
          <c:spPr>
            <a:solidFill>
              <a:srgbClr val="C04790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  <c:pt idx="0">
                  <c:v>6</c:v>
                </c:pt>
                <c:pt idx="1">
                  <c:v>8</c:v>
                </c:pt>
                <c:pt idx="2">
                  <c:v>3</c:v>
                </c:pt>
                <c:pt idx="3">
                  <c:v>1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0E6-4DD5-A0F8-566FDD6863B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MS 6</c:v>
                </c:pt>
              </c:strCache>
            </c:strRef>
          </c:tx>
          <c:spPr>
            <a:solidFill>
              <a:srgbClr val="EE8032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G$2:$G$6</c:f>
              <c:numCache>
                <c:formatCode>General</c:formatCode>
                <c:ptCount val="5"/>
                <c:pt idx="0">
                  <c:v>5</c:v>
                </c:pt>
                <c:pt idx="1">
                  <c:v>4</c:v>
                </c:pt>
                <c:pt idx="2">
                  <c:v>3</c:v>
                </c:pt>
                <c:pt idx="3">
                  <c:v>2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0E6-4DD5-A0F8-566FDD6863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7313024"/>
        <c:axId val="87335296"/>
      </c:barChart>
      <c:catAx>
        <c:axId val="873130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rgbClr val="3F85C1"/>
            </a:solidFill>
          </a:ln>
        </c:spPr>
        <c:txPr>
          <a:bodyPr/>
          <a:lstStyle/>
          <a:p>
            <a:pPr>
              <a:defRPr>
                <a:latin typeface="EC Square Sans Pro" panose="020B0506040000020004" pitchFamily="34" charset="0"/>
              </a:defRPr>
            </a:pPr>
            <a:endParaRPr lang="en-US"/>
          </a:p>
        </c:txPr>
        <c:crossAx val="87335296"/>
        <c:crosses val="autoZero"/>
        <c:auto val="1"/>
        <c:lblAlgn val="ctr"/>
        <c:lblOffset val="100"/>
        <c:noMultiLvlLbl val="0"/>
      </c:catAx>
      <c:valAx>
        <c:axId val="87335296"/>
        <c:scaling>
          <c:orientation val="minMax"/>
        </c:scaling>
        <c:delete val="0"/>
        <c:axPos val="l"/>
        <c:majorGridlines>
          <c:spPr>
            <a:ln w="3175"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3F85C1"/>
            </a:solidFill>
          </a:ln>
        </c:spPr>
        <c:txPr>
          <a:bodyPr/>
          <a:lstStyle/>
          <a:p>
            <a:pPr>
              <a:defRPr>
                <a:latin typeface="EC Square Sans Pro" panose="020B0506040000020004" pitchFamily="34" charset="0"/>
              </a:defRPr>
            </a:pPr>
            <a:endParaRPr lang="en-US"/>
          </a:p>
        </c:txPr>
        <c:crossAx val="87313024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7CC19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EE9-4624-808B-9D544938BA2D}"/>
              </c:ext>
            </c:extLst>
          </c:dPt>
          <c:dPt>
            <c:idx val="1"/>
            <c:bubble3D val="0"/>
            <c:spPr>
              <a:solidFill>
                <a:srgbClr val="CF355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EE9-4624-808B-9D544938BA2D}"/>
              </c:ext>
            </c:extLst>
          </c:dPt>
          <c:dPt>
            <c:idx val="2"/>
            <c:bubble3D val="0"/>
            <c:spPr>
              <a:solidFill>
                <a:srgbClr val="C0479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EEE9-4624-808B-9D544938BA2D}"/>
              </c:ext>
            </c:extLst>
          </c:dPt>
          <c:dPt>
            <c:idx val="3"/>
            <c:bubble3D val="0"/>
            <c:spPr>
              <a:solidFill>
                <a:srgbClr val="3F85C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EEE9-4624-808B-9D544938BA2D}"/>
              </c:ext>
            </c:extLst>
          </c:dPt>
          <c:dPt>
            <c:idx val="4"/>
            <c:bubble3D val="0"/>
            <c:spPr>
              <a:solidFill>
                <a:srgbClr val="76B86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EEE9-4624-808B-9D544938BA2D}"/>
              </c:ext>
            </c:extLst>
          </c:dPt>
          <c:dPt>
            <c:idx val="5"/>
            <c:bubble3D val="0"/>
            <c:spPr>
              <a:solidFill>
                <a:srgbClr val="EE80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EEE9-4624-808B-9D544938BA2D}"/>
              </c:ext>
            </c:extLst>
          </c:dPt>
          <c:cat>
            <c:strRef>
              <c:f>Sheet1!$A$2:$A$7</c:f>
              <c:strCache>
                <c:ptCount val="6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  <c:pt idx="5">
                  <c:v>Action F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EE9-4624-808B-9D544938BA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E4532E1-CB87-486F-A1AC-007963909115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E6C552A-6A23-4594-BDAB-C8057BEB2C31}">
      <dgm:prSet phldrT="[Text]"/>
      <dgm:spPr/>
      <dgm:t>
        <a:bodyPr/>
        <a:lstStyle/>
        <a:p>
          <a:r>
            <a:rPr lang="en-GB" dirty="0"/>
            <a:t>.</a:t>
          </a:r>
        </a:p>
      </dgm:t>
    </dgm:pt>
    <dgm:pt modelId="{688FDE73-0E11-4EF7-9A84-18D069E225E8}" type="parTrans" cxnId="{244D235E-05C1-424A-8149-D8AA0D1F7AFF}">
      <dgm:prSet/>
      <dgm:spPr/>
      <dgm:t>
        <a:bodyPr/>
        <a:lstStyle/>
        <a:p>
          <a:endParaRPr lang="en-GB"/>
        </a:p>
      </dgm:t>
    </dgm:pt>
    <dgm:pt modelId="{88781CB6-D1B7-4322-9F04-16946D4BC147}" type="sibTrans" cxnId="{244D235E-05C1-424A-8149-D8AA0D1F7AFF}">
      <dgm:prSet/>
      <dgm:spPr/>
      <dgm:t>
        <a:bodyPr/>
        <a:lstStyle/>
        <a:p>
          <a:endParaRPr lang="en-GB"/>
        </a:p>
      </dgm:t>
    </dgm:pt>
    <dgm:pt modelId="{B1A42D25-974B-4A92-8E68-F1A5BADF5173}">
      <dgm:prSet phldrT="[Text]" custT="1"/>
      <dgm:spPr/>
      <dgm:t>
        <a:bodyPr/>
        <a:lstStyle/>
        <a:p>
          <a:r>
            <a:rPr lang="en-GB" sz="1400" b="1" dirty="0"/>
            <a:t>Report</a:t>
          </a:r>
          <a:r>
            <a:rPr lang="en-GB" sz="1400" dirty="0"/>
            <a:t> expert group</a:t>
          </a:r>
        </a:p>
      </dgm:t>
    </dgm:pt>
    <dgm:pt modelId="{B00E3D76-DFC6-4F83-BABE-7463B74C22D3}" type="parTrans" cxnId="{7EA19D6B-C399-4AA9-B836-F553DE476DF5}">
      <dgm:prSet/>
      <dgm:spPr/>
      <dgm:t>
        <a:bodyPr/>
        <a:lstStyle/>
        <a:p>
          <a:endParaRPr lang="en-GB"/>
        </a:p>
      </dgm:t>
    </dgm:pt>
    <dgm:pt modelId="{F69D7768-350C-44E8-87D4-035CBE3D155C}" type="sibTrans" cxnId="{7EA19D6B-C399-4AA9-B836-F553DE476DF5}">
      <dgm:prSet/>
      <dgm:spPr/>
      <dgm:t>
        <a:bodyPr/>
        <a:lstStyle/>
        <a:p>
          <a:endParaRPr lang="en-GB"/>
        </a:p>
      </dgm:t>
    </dgm:pt>
    <dgm:pt modelId="{D9BBC3C2-D496-4989-AAE0-3742FA2F9708}">
      <dgm:prSet phldrT="[Text]" custT="1"/>
      <dgm:spPr/>
      <dgm:t>
        <a:bodyPr/>
        <a:lstStyle/>
        <a:p>
          <a:r>
            <a:rPr lang="en-GB" sz="1400" b="1" dirty="0"/>
            <a:t>Feedback</a:t>
          </a:r>
          <a:r>
            <a:rPr lang="en-GB" sz="1400" dirty="0"/>
            <a:t> MSWG, MAI, and EQF AG</a:t>
          </a:r>
        </a:p>
      </dgm:t>
    </dgm:pt>
    <dgm:pt modelId="{5AA25C43-5B0E-4DC7-B1E2-4E12B9292278}" type="parTrans" cxnId="{492BAA77-38E3-4112-A3CF-02FE190F1482}">
      <dgm:prSet/>
      <dgm:spPr/>
      <dgm:t>
        <a:bodyPr/>
        <a:lstStyle/>
        <a:p>
          <a:endParaRPr lang="en-GB"/>
        </a:p>
      </dgm:t>
    </dgm:pt>
    <dgm:pt modelId="{ED48D9F7-EF5D-4662-97B5-EF5629522D7A}" type="sibTrans" cxnId="{492BAA77-38E3-4112-A3CF-02FE190F1482}">
      <dgm:prSet/>
      <dgm:spPr/>
      <dgm:t>
        <a:bodyPr/>
        <a:lstStyle/>
        <a:p>
          <a:endParaRPr lang="en-GB"/>
        </a:p>
      </dgm:t>
    </dgm:pt>
    <dgm:pt modelId="{7522C707-12C1-4135-B604-1339F5DC4C64}">
      <dgm:prSet phldrT="[Text]"/>
      <dgm:spPr/>
      <dgm:t>
        <a:bodyPr/>
        <a:lstStyle/>
        <a:p>
          <a:r>
            <a:rPr lang="en-GB" dirty="0"/>
            <a:t>.</a:t>
          </a:r>
        </a:p>
      </dgm:t>
    </dgm:pt>
    <dgm:pt modelId="{E8855EA4-8207-41AE-86E4-E037E5A1224F}" type="parTrans" cxnId="{A21EA6CF-BA86-4C87-A86B-AC8E5A91D85B}">
      <dgm:prSet/>
      <dgm:spPr/>
      <dgm:t>
        <a:bodyPr/>
        <a:lstStyle/>
        <a:p>
          <a:endParaRPr lang="en-GB"/>
        </a:p>
      </dgm:t>
    </dgm:pt>
    <dgm:pt modelId="{970F2FF5-BA06-4A86-9970-9F0DC4B78859}" type="sibTrans" cxnId="{A21EA6CF-BA86-4C87-A86B-AC8E5A91D85B}">
      <dgm:prSet/>
      <dgm:spPr/>
      <dgm:t>
        <a:bodyPr/>
        <a:lstStyle/>
        <a:p>
          <a:endParaRPr lang="en-GB"/>
        </a:p>
      </dgm:t>
    </dgm:pt>
    <dgm:pt modelId="{37C5D0F0-A7AE-40D8-BBE5-FD80691351B7}">
      <dgm:prSet phldrT="[Text]" custT="1"/>
      <dgm:spPr/>
      <dgm:t>
        <a:bodyPr/>
        <a:lstStyle/>
        <a:p>
          <a:r>
            <a:rPr lang="en-GB" sz="1400" dirty="0"/>
            <a:t>Complete identification of transversal skills</a:t>
          </a:r>
        </a:p>
      </dgm:t>
    </dgm:pt>
    <dgm:pt modelId="{81C57B4D-711E-4EE8-92A3-9F5101F1BFD4}" type="parTrans" cxnId="{1DEB7B8F-0063-453E-AAC0-AB7E028EE802}">
      <dgm:prSet/>
      <dgm:spPr/>
      <dgm:t>
        <a:bodyPr/>
        <a:lstStyle/>
        <a:p>
          <a:endParaRPr lang="en-GB"/>
        </a:p>
      </dgm:t>
    </dgm:pt>
    <dgm:pt modelId="{9852E1A4-794E-4144-A750-CAAF6D29345E}" type="sibTrans" cxnId="{1DEB7B8F-0063-453E-AAC0-AB7E028EE802}">
      <dgm:prSet/>
      <dgm:spPr/>
      <dgm:t>
        <a:bodyPr/>
        <a:lstStyle/>
        <a:p>
          <a:endParaRPr lang="en-GB"/>
        </a:p>
      </dgm:t>
    </dgm:pt>
    <dgm:pt modelId="{233380DE-1C1B-4B71-BEFD-6A75024EBE47}">
      <dgm:prSet phldrT="[Text]"/>
      <dgm:spPr/>
      <dgm:t>
        <a:bodyPr/>
        <a:lstStyle/>
        <a:p>
          <a:r>
            <a:rPr lang="en-GB" dirty="0"/>
            <a:t>.</a:t>
          </a:r>
        </a:p>
      </dgm:t>
    </dgm:pt>
    <dgm:pt modelId="{4F41FBAB-BEB9-4822-A453-50940A417BA7}" type="parTrans" cxnId="{0E1A230B-F6D3-45FD-BB77-5DE0016F170C}">
      <dgm:prSet/>
      <dgm:spPr/>
      <dgm:t>
        <a:bodyPr/>
        <a:lstStyle/>
        <a:p>
          <a:endParaRPr lang="en-GB"/>
        </a:p>
      </dgm:t>
    </dgm:pt>
    <dgm:pt modelId="{1C579430-BF84-4B9D-ADAA-7E96A94D0393}" type="sibTrans" cxnId="{0E1A230B-F6D3-45FD-BB77-5DE0016F170C}">
      <dgm:prSet/>
      <dgm:spPr/>
      <dgm:t>
        <a:bodyPr/>
        <a:lstStyle/>
        <a:p>
          <a:endParaRPr lang="en-GB"/>
        </a:p>
      </dgm:t>
    </dgm:pt>
    <dgm:pt modelId="{D15B56ED-F60C-4428-845B-B4A1BA6A42F5}">
      <dgm:prSet phldrT="[Text]" custT="1"/>
      <dgm:spPr/>
      <dgm:t>
        <a:bodyPr/>
        <a:lstStyle/>
        <a:p>
          <a:r>
            <a:rPr lang="en-GB" sz="1400" dirty="0"/>
            <a:t>6 top-level categories</a:t>
          </a:r>
        </a:p>
      </dgm:t>
    </dgm:pt>
    <dgm:pt modelId="{C6057796-233B-464A-BE68-903EA0C6C3E0}" type="parTrans" cxnId="{326FA5E5-9C95-411D-A367-FC69164B949E}">
      <dgm:prSet/>
      <dgm:spPr/>
      <dgm:t>
        <a:bodyPr/>
        <a:lstStyle/>
        <a:p>
          <a:endParaRPr lang="en-GB"/>
        </a:p>
      </dgm:t>
    </dgm:pt>
    <dgm:pt modelId="{A14B73EC-37AB-466B-83B6-40F72F5EDB80}" type="sibTrans" cxnId="{326FA5E5-9C95-411D-A367-FC69164B949E}">
      <dgm:prSet/>
      <dgm:spPr/>
      <dgm:t>
        <a:bodyPr/>
        <a:lstStyle/>
        <a:p>
          <a:endParaRPr lang="en-GB"/>
        </a:p>
      </dgm:t>
    </dgm:pt>
    <dgm:pt modelId="{C355411E-39E2-4695-969B-DE24D11557B7}">
      <dgm:prSet phldrT="[Text]" custT="1"/>
      <dgm:spPr/>
      <dgm:t>
        <a:bodyPr/>
        <a:lstStyle/>
        <a:p>
          <a:r>
            <a:rPr lang="en-GB" sz="1400" dirty="0"/>
            <a:t>95 transversal skills</a:t>
          </a:r>
        </a:p>
      </dgm:t>
    </dgm:pt>
    <dgm:pt modelId="{9BF01768-1A8B-47C8-B25F-1B28117714F5}" type="parTrans" cxnId="{5A363306-B352-4B4D-B233-A0DF2962B382}">
      <dgm:prSet/>
      <dgm:spPr/>
      <dgm:t>
        <a:bodyPr/>
        <a:lstStyle/>
        <a:p>
          <a:endParaRPr lang="en-GB"/>
        </a:p>
      </dgm:t>
    </dgm:pt>
    <dgm:pt modelId="{D4AB7FBD-028B-4CB4-B251-87BE8AC4E6CE}" type="sibTrans" cxnId="{5A363306-B352-4B4D-B233-A0DF2962B382}">
      <dgm:prSet/>
      <dgm:spPr/>
      <dgm:t>
        <a:bodyPr/>
        <a:lstStyle/>
        <a:p>
          <a:endParaRPr lang="en-GB"/>
        </a:p>
      </dgm:t>
    </dgm:pt>
    <dgm:pt modelId="{D47E6349-E8FA-498E-AC73-C6857E73E93C}">
      <dgm:prSet phldrT="[Text]"/>
      <dgm:spPr/>
      <dgm:t>
        <a:bodyPr/>
        <a:lstStyle/>
        <a:p>
          <a:r>
            <a:rPr lang="en-GB" dirty="0"/>
            <a:t>.</a:t>
          </a:r>
        </a:p>
      </dgm:t>
    </dgm:pt>
    <dgm:pt modelId="{08C5A9AD-F6D5-47E1-806C-923E88F8A7EA}" type="parTrans" cxnId="{0FE2F9FB-0C03-4AF4-BE3B-88E0083990EB}">
      <dgm:prSet/>
      <dgm:spPr/>
      <dgm:t>
        <a:bodyPr/>
        <a:lstStyle/>
        <a:p>
          <a:endParaRPr lang="en-GB"/>
        </a:p>
      </dgm:t>
    </dgm:pt>
    <dgm:pt modelId="{E86EB4A3-E58B-4ADA-BECC-FFD43DC05B46}" type="sibTrans" cxnId="{0FE2F9FB-0C03-4AF4-BE3B-88E0083990EB}">
      <dgm:prSet/>
      <dgm:spPr/>
      <dgm:t>
        <a:bodyPr/>
        <a:lstStyle/>
        <a:p>
          <a:endParaRPr lang="en-GB"/>
        </a:p>
      </dgm:t>
    </dgm:pt>
    <dgm:pt modelId="{EF788317-6E2A-479F-A110-209F9FC9C756}">
      <dgm:prSet phldrT="[Text]" custT="1"/>
      <dgm:spPr/>
      <dgm:t>
        <a:bodyPr/>
        <a:lstStyle/>
        <a:p>
          <a:r>
            <a:rPr lang="en-GB" sz="1400" dirty="0"/>
            <a:t>24 clusters</a:t>
          </a:r>
        </a:p>
      </dgm:t>
    </dgm:pt>
    <dgm:pt modelId="{64726028-0992-4341-A309-C9A53A0A13DF}" type="parTrans" cxnId="{AA075DEE-2CE2-4397-9D32-88CAEB28C814}">
      <dgm:prSet/>
      <dgm:spPr/>
      <dgm:t>
        <a:bodyPr/>
        <a:lstStyle/>
        <a:p>
          <a:endParaRPr lang="en-GB"/>
        </a:p>
      </dgm:t>
    </dgm:pt>
    <dgm:pt modelId="{2F7DFB05-9B9F-46A9-A332-386023AB9646}" type="sibTrans" cxnId="{AA075DEE-2CE2-4397-9D32-88CAEB28C814}">
      <dgm:prSet/>
      <dgm:spPr/>
      <dgm:t>
        <a:bodyPr/>
        <a:lstStyle/>
        <a:p>
          <a:endParaRPr lang="en-GB"/>
        </a:p>
      </dgm:t>
    </dgm:pt>
    <dgm:pt modelId="{5C7832B4-7928-4D4B-8628-591834CF71C5}">
      <dgm:prSet phldrT="[Text]" custT="1"/>
      <dgm:spPr/>
      <dgm:t>
        <a:bodyPr/>
        <a:lstStyle/>
        <a:p>
          <a:r>
            <a:rPr lang="en-GB" sz="1400" dirty="0"/>
            <a:t>Formulate </a:t>
          </a:r>
          <a:r>
            <a:rPr lang="en-GB" sz="1400" b="1" dirty="0"/>
            <a:t>descriptions</a:t>
          </a:r>
          <a:r>
            <a:rPr lang="en-GB" sz="1400" dirty="0"/>
            <a:t> and </a:t>
          </a:r>
          <a:r>
            <a:rPr lang="en-GB" sz="1400" b="1" dirty="0"/>
            <a:t>scope notes</a:t>
          </a:r>
        </a:p>
      </dgm:t>
    </dgm:pt>
    <dgm:pt modelId="{EFC6273E-75F0-4C41-B1C9-FFAB0CEAACE7}" type="parTrans" cxnId="{C196B864-0B71-4FB1-B0EA-E4C807926A90}">
      <dgm:prSet/>
      <dgm:spPr/>
      <dgm:t>
        <a:bodyPr/>
        <a:lstStyle/>
        <a:p>
          <a:endParaRPr lang="en-GB"/>
        </a:p>
      </dgm:t>
    </dgm:pt>
    <dgm:pt modelId="{A043AFBE-0375-43B1-9B48-C46F4A6FAEA8}" type="sibTrans" cxnId="{C196B864-0B71-4FB1-B0EA-E4C807926A90}">
      <dgm:prSet/>
      <dgm:spPr/>
      <dgm:t>
        <a:bodyPr/>
        <a:lstStyle/>
        <a:p>
          <a:endParaRPr lang="en-GB"/>
        </a:p>
      </dgm:t>
    </dgm:pt>
    <dgm:pt modelId="{71925681-264F-46B5-90EB-4C57256454C6}">
      <dgm:prSet phldrT="[Text]" custT="1"/>
      <dgm:spPr/>
      <dgm:t>
        <a:bodyPr/>
        <a:lstStyle/>
        <a:p>
          <a:r>
            <a:rPr lang="en-GB" sz="1400" b="1" dirty="0"/>
            <a:t>Apply terminological guidelines </a:t>
          </a:r>
          <a:r>
            <a:rPr lang="en-GB" sz="1400" dirty="0"/>
            <a:t>and assign alternative labels</a:t>
          </a:r>
        </a:p>
      </dgm:t>
    </dgm:pt>
    <dgm:pt modelId="{AF5EDB1D-B8AE-4809-8112-6543D9B6E4AC}" type="parTrans" cxnId="{DE256A1C-AFB4-4CBF-809E-21853CAA6B17}">
      <dgm:prSet/>
      <dgm:spPr/>
      <dgm:t>
        <a:bodyPr/>
        <a:lstStyle/>
        <a:p>
          <a:endParaRPr lang="en-GB"/>
        </a:p>
      </dgm:t>
    </dgm:pt>
    <dgm:pt modelId="{F66BC03A-766E-4BFF-AB3E-14D9BBB317BB}" type="sibTrans" cxnId="{DE256A1C-AFB4-4CBF-809E-21853CAA6B17}">
      <dgm:prSet/>
      <dgm:spPr/>
      <dgm:t>
        <a:bodyPr/>
        <a:lstStyle/>
        <a:p>
          <a:endParaRPr lang="en-GB"/>
        </a:p>
      </dgm:t>
    </dgm:pt>
    <dgm:pt modelId="{7E4A08FC-27A1-4F51-A055-4B79D4EBC965}">
      <dgm:prSet phldrT="[Text]" custT="1"/>
      <dgm:spPr/>
      <dgm:t>
        <a:bodyPr/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b="1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Verdana"/>
              <a:ea typeface="+mn-ea"/>
              <a:cs typeface="+mn-cs"/>
            </a:rPr>
            <a:t>Integrate</a:t>
          </a:r>
          <a:r>
            <a:rPr lang="en-GB" sz="14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Verdana"/>
              <a:ea typeface="+mn-ea"/>
              <a:cs typeface="+mn-cs"/>
            </a:rPr>
            <a:t> transversal skills in the </a:t>
          </a:r>
          <a:r>
            <a:rPr lang="en-GB" sz="1400" b="1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Verdana"/>
              <a:ea typeface="+mn-ea"/>
              <a:cs typeface="+mn-cs"/>
            </a:rPr>
            <a:t>ESCO skills pillar</a:t>
          </a:r>
        </a:p>
      </dgm:t>
    </dgm:pt>
    <dgm:pt modelId="{725720A7-449E-4CEC-8293-D970892B8435}" type="parTrans" cxnId="{23D27150-2EB1-47FD-B9BD-B723CE72B73D}">
      <dgm:prSet/>
      <dgm:spPr/>
      <dgm:t>
        <a:bodyPr/>
        <a:lstStyle/>
        <a:p>
          <a:endParaRPr lang="en-GB"/>
        </a:p>
      </dgm:t>
    </dgm:pt>
    <dgm:pt modelId="{F688DE2A-3334-418B-BDC3-CFC3877F0ABC}" type="sibTrans" cxnId="{23D27150-2EB1-47FD-B9BD-B723CE72B73D}">
      <dgm:prSet/>
      <dgm:spPr/>
      <dgm:t>
        <a:bodyPr/>
        <a:lstStyle/>
        <a:p>
          <a:endParaRPr lang="en-GB"/>
        </a:p>
      </dgm:t>
    </dgm:pt>
    <dgm:pt modelId="{4B547653-7E5C-4532-AA31-670DD6935DE5}">
      <dgm:prSet phldrT="[Text]" custT="1"/>
      <dgm:spPr/>
      <dgm:t>
        <a:bodyPr/>
        <a:lstStyle/>
        <a:p>
          <a:r>
            <a:rPr lang="en-GB" sz="1400" dirty="0"/>
            <a:t>ESCO skills quality review</a:t>
          </a:r>
        </a:p>
      </dgm:t>
    </dgm:pt>
    <dgm:pt modelId="{D8563010-7548-4F62-9FB8-560A75730DD7}" type="parTrans" cxnId="{B3530144-AEFA-48AD-8895-6010EC726553}">
      <dgm:prSet/>
      <dgm:spPr/>
      <dgm:t>
        <a:bodyPr/>
        <a:lstStyle/>
        <a:p>
          <a:endParaRPr lang="en-GB"/>
        </a:p>
      </dgm:t>
    </dgm:pt>
    <dgm:pt modelId="{1B6A2F93-BC0B-42DC-BB4A-47291BBDC3A9}" type="sibTrans" cxnId="{B3530144-AEFA-48AD-8895-6010EC726553}">
      <dgm:prSet/>
      <dgm:spPr/>
      <dgm:t>
        <a:bodyPr/>
        <a:lstStyle/>
        <a:p>
          <a:endParaRPr lang="en-GB"/>
        </a:p>
      </dgm:t>
    </dgm:pt>
    <dgm:pt modelId="{DAB5C7B1-7ACB-4842-82D3-042C7CAA8C36}" type="pres">
      <dgm:prSet presAssocID="{1E4532E1-CB87-486F-A1AC-007963909115}" presName="linearFlow" presStyleCnt="0">
        <dgm:presLayoutVars>
          <dgm:dir/>
          <dgm:animLvl val="lvl"/>
          <dgm:resizeHandles val="exact"/>
        </dgm:presLayoutVars>
      </dgm:prSet>
      <dgm:spPr/>
    </dgm:pt>
    <dgm:pt modelId="{5EFD11B3-5904-4BE0-A0CE-991C880BF60E}" type="pres">
      <dgm:prSet presAssocID="{2E6C552A-6A23-4594-BDAB-C8057BEB2C31}" presName="composite" presStyleCnt="0"/>
      <dgm:spPr/>
    </dgm:pt>
    <dgm:pt modelId="{323B0F50-6F71-4523-84D5-BDE246264008}" type="pres">
      <dgm:prSet presAssocID="{2E6C552A-6A23-4594-BDAB-C8057BEB2C31}" presName="parentText" presStyleLbl="alignNode1" presStyleIdx="0" presStyleCnt="4">
        <dgm:presLayoutVars>
          <dgm:chMax val="1"/>
          <dgm:bulletEnabled val="1"/>
        </dgm:presLayoutVars>
      </dgm:prSet>
      <dgm:spPr/>
    </dgm:pt>
    <dgm:pt modelId="{AA9B0CF4-E48E-433B-9BA1-0D88B42D5FED}" type="pres">
      <dgm:prSet presAssocID="{2E6C552A-6A23-4594-BDAB-C8057BEB2C31}" presName="descendantText" presStyleLbl="alignAcc1" presStyleIdx="0" presStyleCnt="4">
        <dgm:presLayoutVars>
          <dgm:bulletEnabled val="1"/>
        </dgm:presLayoutVars>
      </dgm:prSet>
      <dgm:spPr/>
    </dgm:pt>
    <dgm:pt modelId="{F86E42C3-5934-4E57-A928-2EFDFADC5C8B}" type="pres">
      <dgm:prSet presAssocID="{88781CB6-D1B7-4322-9F04-16946D4BC147}" presName="sp" presStyleCnt="0"/>
      <dgm:spPr/>
    </dgm:pt>
    <dgm:pt modelId="{0F5C7ACF-4EAB-4873-A6BB-E062BE20CD4B}" type="pres">
      <dgm:prSet presAssocID="{7522C707-12C1-4135-B604-1339F5DC4C64}" presName="composite" presStyleCnt="0"/>
      <dgm:spPr/>
    </dgm:pt>
    <dgm:pt modelId="{8686DE99-B167-4948-B8D6-524C225A063D}" type="pres">
      <dgm:prSet presAssocID="{7522C707-12C1-4135-B604-1339F5DC4C64}" presName="parentText" presStyleLbl="alignNode1" presStyleIdx="1" presStyleCnt="4">
        <dgm:presLayoutVars>
          <dgm:chMax val="1"/>
          <dgm:bulletEnabled val="1"/>
        </dgm:presLayoutVars>
      </dgm:prSet>
      <dgm:spPr/>
    </dgm:pt>
    <dgm:pt modelId="{5219B642-F554-474E-BFAB-B437D28123DE}" type="pres">
      <dgm:prSet presAssocID="{7522C707-12C1-4135-B604-1339F5DC4C64}" presName="descendantText" presStyleLbl="alignAcc1" presStyleIdx="1" presStyleCnt="4" custScaleY="121000">
        <dgm:presLayoutVars>
          <dgm:bulletEnabled val="1"/>
        </dgm:presLayoutVars>
      </dgm:prSet>
      <dgm:spPr/>
    </dgm:pt>
    <dgm:pt modelId="{A32D03DB-FE64-4866-933B-825864663103}" type="pres">
      <dgm:prSet presAssocID="{970F2FF5-BA06-4A86-9970-9F0DC4B78859}" presName="sp" presStyleCnt="0"/>
      <dgm:spPr/>
    </dgm:pt>
    <dgm:pt modelId="{74081BE3-FD0B-4329-A9DB-9BBAC75C2FB3}" type="pres">
      <dgm:prSet presAssocID="{233380DE-1C1B-4B71-BEFD-6A75024EBE47}" presName="composite" presStyleCnt="0"/>
      <dgm:spPr/>
    </dgm:pt>
    <dgm:pt modelId="{FBEBF7BB-5518-4F76-A865-311AE7A4FC01}" type="pres">
      <dgm:prSet presAssocID="{233380DE-1C1B-4B71-BEFD-6A75024EBE47}" presName="parentText" presStyleLbl="alignNode1" presStyleIdx="2" presStyleCnt="4">
        <dgm:presLayoutVars>
          <dgm:chMax val="1"/>
          <dgm:bulletEnabled val="1"/>
        </dgm:presLayoutVars>
      </dgm:prSet>
      <dgm:spPr/>
    </dgm:pt>
    <dgm:pt modelId="{A975B9F3-8719-4E59-BA14-95A00F4F8367}" type="pres">
      <dgm:prSet presAssocID="{233380DE-1C1B-4B71-BEFD-6A75024EBE47}" presName="descendantText" presStyleLbl="alignAcc1" presStyleIdx="2" presStyleCnt="4">
        <dgm:presLayoutVars>
          <dgm:bulletEnabled val="1"/>
        </dgm:presLayoutVars>
      </dgm:prSet>
      <dgm:spPr/>
    </dgm:pt>
    <dgm:pt modelId="{72B92BA4-8C56-480D-A573-5E5B0B67DF44}" type="pres">
      <dgm:prSet presAssocID="{1C579430-BF84-4B9D-ADAA-7E96A94D0393}" presName="sp" presStyleCnt="0"/>
      <dgm:spPr/>
    </dgm:pt>
    <dgm:pt modelId="{DFDBB807-78B8-42BF-B837-26A128B9C355}" type="pres">
      <dgm:prSet presAssocID="{D47E6349-E8FA-498E-AC73-C6857E73E93C}" presName="composite" presStyleCnt="0"/>
      <dgm:spPr/>
    </dgm:pt>
    <dgm:pt modelId="{805E30E2-611F-44EC-84C6-05007EB1E5AF}" type="pres">
      <dgm:prSet presAssocID="{D47E6349-E8FA-498E-AC73-C6857E73E93C}" presName="parentText" presStyleLbl="alignNode1" presStyleIdx="3" presStyleCnt="4">
        <dgm:presLayoutVars>
          <dgm:chMax val="1"/>
          <dgm:bulletEnabled val="1"/>
        </dgm:presLayoutVars>
      </dgm:prSet>
      <dgm:spPr/>
    </dgm:pt>
    <dgm:pt modelId="{F21E125F-5408-45F5-9B16-1F54E1783215}" type="pres">
      <dgm:prSet presAssocID="{D47E6349-E8FA-498E-AC73-C6857E73E93C}" presName="descendantText" presStyleLbl="alignAcc1" presStyleIdx="3" presStyleCnt="4">
        <dgm:presLayoutVars>
          <dgm:bulletEnabled val="1"/>
        </dgm:presLayoutVars>
      </dgm:prSet>
      <dgm:spPr/>
    </dgm:pt>
  </dgm:ptLst>
  <dgm:cxnLst>
    <dgm:cxn modelId="{32075A05-E9A3-4AFA-B152-1102AEBE7700}" type="presOf" srcId="{D47E6349-E8FA-498E-AC73-C6857E73E93C}" destId="{805E30E2-611F-44EC-84C6-05007EB1E5AF}" srcOrd="0" destOrd="0" presId="urn:microsoft.com/office/officeart/2005/8/layout/chevron2"/>
    <dgm:cxn modelId="{5A363306-B352-4B4D-B233-A0DF2962B382}" srcId="{233380DE-1C1B-4B71-BEFD-6A75024EBE47}" destId="{C355411E-39E2-4695-969B-DE24D11557B7}" srcOrd="2" destOrd="0" parTransId="{9BF01768-1A8B-47C8-B25F-1B28117714F5}" sibTransId="{D4AB7FBD-028B-4CB4-B251-87BE8AC4E6CE}"/>
    <dgm:cxn modelId="{DAD0DD08-2009-42B4-87A1-DC2AD7254D6F}" type="presOf" srcId="{233380DE-1C1B-4B71-BEFD-6A75024EBE47}" destId="{FBEBF7BB-5518-4F76-A865-311AE7A4FC01}" srcOrd="0" destOrd="0" presId="urn:microsoft.com/office/officeart/2005/8/layout/chevron2"/>
    <dgm:cxn modelId="{0E1A230B-F6D3-45FD-BB77-5DE0016F170C}" srcId="{1E4532E1-CB87-486F-A1AC-007963909115}" destId="{233380DE-1C1B-4B71-BEFD-6A75024EBE47}" srcOrd="2" destOrd="0" parTransId="{4F41FBAB-BEB9-4822-A453-50940A417BA7}" sibTransId="{1C579430-BF84-4B9D-ADAA-7E96A94D0393}"/>
    <dgm:cxn modelId="{1064F20E-2090-4025-9599-E966516E80D3}" type="presOf" srcId="{7E4A08FC-27A1-4F51-A055-4B79D4EBC965}" destId="{F21E125F-5408-45F5-9B16-1F54E1783215}" srcOrd="0" destOrd="0" presId="urn:microsoft.com/office/officeart/2005/8/layout/chevron2"/>
    <dgm:cxn modelId="{3B9FDB11-8D47-48DC-85F9-9802DDCA7C0F}" type="presOf" srcId="{B1A42D25-974B-4A92-8E68-F1A5BADF5173}" destId="{AA9B0CF4-E48E-433B-9BA1-0D88B42D5FED}" srcOrd="0" destOrd="0" presId="urn:microsoft.com/office/officeart/2005/8/layout/chevron2"/>
    <dgm:cxn modelId="{3BF5741B-6E6F-4BE4-ACC9-7688DA6DA28D}" type="presOf" srcId="{EF788317-6E2A-479F-A110-209F9FC9C756}" destId="{A975B9F3-8719-4E59-BA14-95A00F4F8367}" srcOrd="0" destOrd="1" presId="urn:microsoft.com/office/officeart/2005/8/layout/chevron2"/>
    <dgm:cxn modelId="{DE256A1C-AFB4-4CBF-809E-21853CAA6B17}" srcId="{7522C707-12C1-4135-B604-1339F5DC4C64}" destId="{71925681-264F-46B5-90EB-4C57256454C6}" srcOrd="2" destOrd="0" parTransId="{AF5EDB1D-B8AE-4809-8112-6543D9B6E4AC}" sibTransId="{F66BC03A-766E-4BFF-AB3E-14D9BBB317BB}"/>
    <dgm:cxn modelId="{9A688C1F-012C-4B30-963C-D4174AC23FE0}" type="presOf" srcId="{37C5D0F0-A7AE-40D8-BBE5-FD80691351B7}" destId="{5219B642-F554-474E-BFAB-B437D28123DE}" srcOrd="0" destOrd="0" presId="urn:microsoft.com/office/officeart/2005/8/layout/chevron2"/>
    <dgm:cxn modelId="{42E50834-AEC2-4638-96A8-EB20BDC33571}" type="presOf" srcId="{D15B56ED-F60C-4428-845B-B4A1BA6A42F5}" destId="{A975B9F3-8719-4E59-BA14-95A00F4F8367}" srcOrd="0" destOrd="0" presId="urn:microsoft.com/office/officeart/2005/8/layout/chevron2"/>
    <dgm:cxn modelId="{0E9A523A-B666-4126-840C-4EECF2E622D8}" type="presOf" srcId="{7522C707-12C1-4135-B604-1339F5DC4C64}" destId="{8686DE99-B167-4948-B8D6-524C225A063D}" srcOrd="0" destOrd="0" presId="urn:microsoft.com/office/officeart/2005/8/layout/chevron2"/>
    <dgm:cxn modelId="{5A7A783D-606C-4175-AC3E-62D5569969C6}" type="presOf" srcId="{1E4532E1-CB87-486F-A1AC-007963909115}" destId="{DAB5C7B1-7ACB-4842-82D3-042C7CAA8C36}" srcOrd="0" destOrd="0" presId="urn:microsoft.com/office/officeart/2005/8/layout/chevron2"/>
    <dgm:cxn modelId="{59A6795C-11E0-4054-8F6F-B97D44B0AE0F}" type="presOf" srcId="{5C7832B4-7928-4D4B-8628-591834CF71C5}" destId="{5219B642-F554-474E-BFAB-B437D28123DE}" srcOrd="0" destOrd="1" presId="urn:microsoft.com/office/officeart/2005/8/layout/chevron2"/>
    <dgm:cxn modelId="{244D235E-05C1-424A-8149-D8AA0D1F7AFF}" srcId="{1E4532E1-CB87-486F-A1AC-007963909115}" destId="{2E6C552A-6A23-4594-BDAB-C8057BEB2C31}" srcOrd="0" destOrd="0" parTransId="{688FDE73-0E11-4EF7-9A84-18D069E225E8}" sibTransId="{88781CB6-D1B7-4322-9F04-16946D4BC147}"/>
    <dgm:cxn modelId="{B3530144-AEFA-48AD-8895-6010EC726553}" srcId="{2E6C552A-6A23-4594-BDAB-C8057BEB2C31}" destId="{4B547653-7E5C-4532-AA31-670DD6935DE5}" srcOrd="2" destOrd="0" parTransId="{D8563010-7548-4F62-9FB8-560A75730DD7}" sibTransId="{1B6A2F93-BC0B-42DC-BB4A-47291BBDC3A9}"/>
    <dgm:cxn modelId="{C196B864-0B71-4FB1-B0EA-E4C807926A90}" srcId="{7522C707-12C1-4135-B604-1339F5DC4C64}" destId="{5C7832B4-7928-4D4B-8628-591834CF71C5}" srcOrd="1" destOrd="0" parTransId="{EFC6273E-75F0-4C41-B1C9-FFAB0CEAACE7}" sibTransId="{A043AFBE-0375-43B1-9B48-C46F4A6FAEA8}"/>
    <dgm:cxn modelId="{7EA19D6B-C399-4AA9-B836-F553DE476DF5}" srcId="{2E6C552A-6A23-4594-BDAB-C8057BEB2C31}" destId="{B1A42D25-974B-4A92-8E68-F1A5BADF5173}" srcOrd="0" destOrd="0" parTransId="{B00E3D76-DFC6-4F83-BABE-7463B74C22D3}" sibTransId="{F69D7768-350C-44E8-87D4-035CBE3D155C}"/>
    <dgm:cxn modelId="{4E4D0A4E-F3C4-48CC-8464-4AFBDEE03991}" type="presOf" srcId="{D9BBC3C2-D496-4989-AAE0-3742FA2F9708}" destId="{AA9B0CF4-E48E-433B-9BA1-0D88B42D5FED}" srcOrd="0" destOrd="1" presId="urn:microsoft.com/office/officeart/2005/8/layout/chevron2"/>
    <dgm:cxn modelId="{23D27150-2EB1-47FD-B9BD-B723CE72B73D}" srcId="{D47E6349-E8FA-498E-AC73-C6857E73E93C}" destId="{7E4A08FC-27A1-4F51-A055-4B79D4EBC965}" srcOrd="0" destOrd="0" parTransId="{725720A7-449E-4CEC-8293-D970892B8435}" sibTransId="{F688DE2A-3334-418B-BDC3-CFC3877F0ABC}"/>
    <dgm:cxn modelId="{492BAA77-38E3-4112-A3CF-02FE190F1482}" srcId="{2E6C552A-6A23-4594-BDAB-C8057BEB2C31}" destId="{D9BBC3C2-D496-4989-AAE0-3742FA2F9708}" srcOrd="1" destOrd="0" parTransId="{5AA25C43-5B0E-4DC7-B1E2-4E12B9292278}" sibTransId="{ED48D9F7-EF5D-4662-97B5-EF5629522D7A}"/>
    <dgm:cxn modelId="{1DEB7B8F-0063-453E-AAC0-AB7E028EE802}" srcId="{7522C707-12C1-4135-B604-1339F5DC4C64}" destId="{37C5D0F0-A7AE-40D8-BBE5-FD80691351B7}" srcOrd="0" destOrd="0" parTransId="{81C57B4D-711E-4EE8-92A3-9F5101F1BFD4}" sibTransId="{9852E1A4-794E-4144-A750-CAAF6D29345E}"/>
    <dgm:cxn modelId="{1DF92D97-F8B2-43B0-81DD-2FB8105871FB}" type="presOf" srcId="{C355411E-39E2-4695-969B-DE24D11557B7}" destId="{A975B9F3-8719-4E59-BA14-95A00F4F8367}" srcOrd="0" destOrd="2" presId="urn:microsoft.com/office/officeart/2005/8/layout/chevron2"/>
    <dgm:cxn modelId="{574C42BF-8E43-4EFB-BC43-4E6E64FA2910}" type="presOf" srcId="{71925681-264F-46B5-90EB-4C57256454C6}" destId="{5219B642-F554-474E-BFAB-B437D28123DE}" srcOrd="0" destOrd="2" presId="urn:microsoft.com/office/officeart/2005/8/layout/chevron2"/>
    <dgm:cxn modelId="{28909DC1-DF3C-4439-8BE4-7B24C0DF5C3A}" type="presOf" srcId="{4B547653-7E5C-4532-AA31-670DD6935DE5}" destId="{AA9B0CF4-E48E-433B-9BA1-0D88B42D5FED}" srcOrd="0" destOrd="2" presId="urn:microsoft.com/office/officeart/2005/8/layout/chevron2"/>
    <dgm:cxn modelId="{A21EA6CF-BA86-4C87-A86B-AC8E5A91D85B}" srcId="{1E4532E1-CB87-486F-A1AC-007963909115}" destId="{7522C707-12C1-4135-B604-1339F5DC4C64}" srcOrd="1" destOrd="0" parTransId="{E8855EA4-8207-41AE-86E4-E037E5A1224F}" sibTransId="{970F2FF5-BA06-4A86-9970-9F0DC4B78859}"/>
    <dgm:cxn modelId="{326FA5E5-9C95-411D-A367-FC69164B949E}" srcId="{233380DE-1C1B-4B71-BEFD-6A75024EBE47}" destId="{D15B56ED-F60C-4428-845B-B4A1BA6A42F5}" srcOrd="0" destOrd="0" parTransId="{C6057796-233B-464A-BE68-903EA0C6C3E0}" sibTransId="{A14B73EC-37AB-466B-83B6-40F72F5EDB80}"/>
    <dgm:cxn modelId="{AA075DEE-2CE2-4397-9D32-88CAEB28C814}" srcId="{233380DE-1C1B-4B71-BEFD-6A75024EBE47}" destId="{EF788317-6E2A-479F-A110-209F9FC9C756}" srcOrd="1" destOrd="0" parTransId="{64726028-0992-4341-A309-C9A53A0A13DF}" sibTransId="{2F7DFB05-9B9F-46A9-A332-386023AB9646}"/>
    <dgm:cxn modelId="{C78CFEF5-B5E0-4B38-B483-9A1DFC00D0DC}" type="presOf" srcId="{2E6C552A-6A23-4594-BDAB-C8057BEB2C31}" destId="{323B0F50-6F71-4523-84D5-BDE246264008}" srcOrd="0" destOrd="0" presId="urn:microsoft.com/office/officeart/2005/8/layout/chevron2"/>
    <dgm:cxn modelId="{0FE2F9FB-0C03-4AF4-BE3B-88E0083990EB}" srcId="{1E4532E1-CB87-486F-A1AC-007963909115}" destId="{D47E6349-E8FA-498E-AC73-C6857E73E93C}" srcOrd="3" destOrd="0" parTransId="{08C5A9AD-F6D5-47E1-806C-923E88F8A7EA}" sibTransId="{E86EB4A3-E58B-4ADA-BECC-FFD43DC05B46}"/>
    <dgm:cxn modelId="{8D2CF0DA-5791-473A-A454-0E13E206340A}" type="presParOf" srcId="{DAB5C7B1-7ACB-4842-82D3-042C7CAA8C36}" destId="{5EFD11B3-5904-4BE0-A0CE-991C880BF60E}" srcOrd="0" destOrd="0" presId="urn:microsoft.com/office/officeart/2005/8/layout/chevron2"/>
    <dgm:cxn modelId="{461EB3CC-B5AF-4CA5-A2C7-16F22FB760AC}" type="presParOf" srcId="{5EFD11B3-5904-4BE0-A0CE-991C880BF60E}" destId="{323B0F50-6F71-4523-84D5-BDE246264008}" srcOrd="0" destOrd="0" presId="urn:microsoft.com/office/officeart/2005/8/layout/chevron2"/>
    <dgm:cxn modelId="{59133881-4602-4CD4-B9EF-B6AF67D96409}" type="presParOf" srcId="{5EFD11B3-5904-4BE0-A0CE-991C880BF60E}" destId="{AA9B0CF4-E48E-433B-9BA1-0D88B42D5FED}" srcOrd="1" destOrd="0" presId="urn:microsoft.com/office/officeart/2005/8/layout/chevron2"/>
    <dgm:cxn modelId="{17B60FD6-ADED-4ECC-95E2-E5A5B765BF90}" type="presParOf" srcId="{DAB5C7B1-7ACB-4842-82D3-042C7CAA8C36}" destId="{F86E42C3-5934-4E57-A928-2EFDFADC5C8B}" srcOrd="1" destOrd="0" presId="urn:microsoft.com/office/officeart/2005/8/layout/chevron2"/>
    <dgm:cxn modelId="{AEA7A590-7580-4F97-91F0-5ABE19E950E1}" type="presParOf" srcId="{DAB5C7B1-7ACB-4842-82D3-042C7CAA8C36}" destId="{0F5C7ACF-4EAB-4873-A6BB-E062BE20CD4B}" srcOrd="2" destOrd="0" presId="urn:microsoft.com/office/officeart/2005/8/layout/chevron2"/>
    <dgm:cxn modelId="{5825535B-FA3B-48B0-847F-C29C579779AF}" type="presParOf" srcId="{0F5C7ACF-4EAB-4873-A6BB-E062BE20CD4B}" destId="{8686DE99-B167-4948-B8D6-524C225A063D}" srcOrd="0" destOrd="0" presId="urn:microsoft.com/office/officeart/2005/8/layout/chevron2"/>
    <dgm:cxn modelId="{CD757E55-25F2-4ED1-81E5-026DA69540DC}" type="presParOf" srcId="{0F5C7ACF-4EAB-4873-A6BB-E062BE20CD4B}" destId="{5219B642-F554-474E-BFAB-B437D28123DE}" srcOrd="1" destOrd="0" presId="urn:microsoft.com/office/officeart/2005/8/layout/chevron2"/>
    <dgm:cxn modelId="{16AD457E-879B-4171-B872-B79C3E2202F1}" type="presParOf" srcId="{DAB5C7B1-7ACB-4842-82D3-042C7CAA8C36}" destId="{A32D03DB-FE64-4866-933B-825864663103}" srcOrd="3" destOrd="0" presId="urn:microsoft.com/office/officeart/2005/8/layout/chevron2"/>
    <dgm:cxn modelId="{A5031AC2-026F-4A6D-A042-BF4E65651E08}" type="presParOf" srcId="{DAB5C7B1-7ACB-4842-82D3-042C7CAA8C36}" destId="{74081BE3-FD0B-4329-A9DB-9BBAC75C2FB3}" srcOrd="4" destOrd="0" presId="urn:microsoft.com/office/officeart/2005/8/layout/chevron2"/>
    <dgm:cxn modelId="{3FBC85D9-8EBC-40A3-84F0-409CDDC96D48}" type="presParOf" srcId="{74081BE3-FD0B-4329-A9DB-9BBAC75C2FB3}" destId="{FBEBF7BB-5518-4F76-A865-311AE7A4FC01}" srcOrd="0" destOrd="0" presId="urn:microsoft.com/office/officeart/2005/8/layout/chevron2"/>
    <dgm:cxn modelId="{44094BD0-CC57-43F6-B2F4-054C4AB09CEE}" type="presParOf" srcId="{74081BE3-FD0B-4329-A9DB-9BBAC75C2FB3}" destId="{A975B9F3-8719-4E59-BA14-95A00F4F8367}" srcOrd="1" destOrd="0" presId="urn:microsoft.com/office/officeart/2005/8/layout/chevron2"/>
    <dgm:cxn modelId="{BF4E9D02-AE76-47FC-8CF5-1762B86C57C9}" type="presParOf" srcId="{DAB5C7B1-7ACB-4842-82D3-042C7CAA8C36}" destId="{72B92BA4-8C56-480D-A573-5E5B0B67DF44}" srcOrd="5" destOrd="0" presId="urn:microsoft.com/office/officeart/2005/8/layout/chevron2"/>
    <dgm:cxn modelId="{4ED443CB-608F-4B6A-ACC6-0AEF9F48D0A7}" type="presParOf" srcId="{DAB5C7B1-7ACB-4842-82D3-042C7CAA8C36}" destId="{DFDBB807-78B8-42BF-B837-26A128B9C355}" srcOrd="6" destOrd="0" presId="urn:microsoft.com/office/officeart/2005/8/layout/chevron2"/>
    <dgm:cxn modelId="{EA4152D5-ACFA-4CB3-9663-6B891B6FE774}" type="presParOf" srcId="{DFDBB807-78B8-42BF-B837-26A128B9C355}" destId="{805E30E2-611F-44EC-84C6-05007EB1E5AF}" srcOrd="0" destOrd="0" presId="urn:microsoft.com/office/officeart/2005/8/layout/chevron2"/>
    <dgm:cxn modelId="{5BD6A297-9E15-495F-88AE-A0C57C84C646}" type="presParOf" srcId="{DFDBB807-78B8-42BF-B837-26A128B9C355}" destId="{F21E125F-5408-45F5-9B16-1F54E1783215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BB50EF6-162B-4142-AA7C-1CAC5634E003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2_3" csCatId="accent2" phldr="1"/>
      <dgm:spPr/>
    </dgm:pt>
    <dgm:pt modelId="{85833CEB-E713-4001-8CC0-3E82952667E4}">
      <dgm:prSet phldrT="[Text]"/>
      <dgm:spPr/>
      <dgm:t>
        <a:bodyPr/>
        <a:lstStyle/>
        <a:p>
          <a:r>
            <a:rPr lang="en-GB" dirty="0"/>
            <a:t>Human labelling</a:t>
          </a:r>
        </a:p>
      </dgm:t>
    </dgm:pt>
    <dgm:pt modelId="{28F18EA2-E2CC-4349-8D05-51A164ADA615}" type="parTrans" cxnId="{6E6B86BF-82F4-49F9-A4CD-A7975A3978A7}">
      <dgm:prSet/>
      <dgm:spPr/>
      <dgm:t>
        <a:bodyPr/>
        <a:lstStyle/>
        <a:p>
          <a:endParaRPr lang="en-GB"/>
        </a:p>
      </dgm:t>
    </dgm:pt>
    <dgm:pt modelId="{B0FB2820-E329-4F79-89A7-25F87F5763CE}" type="sibTrans" cxnId="{6E6B86BF-82F4-49F9-A4CD-A7975A3978A7}">
      <dgm:prSet/>
      <dgm:spPr/>
      <dgm:t>
        <a:bodyPr/>
        <a:lstStyle/>
        <a:p>
          <a:endParaRPr lang="en-GB"/>
        </a:p>
      </dgm:t>
    </dgm:pt>
    <dgm:pt modelId="{8847A955-C0CD-4597-A39F-AA8A06C61D33}">
      <dgm:prSet phldrT="[Text]"/>
      <dgm:spPr/>
      <dgm:t>
        <a:bodyPr/>
        <a:lstStyle/>
        <a:p>
          <a:r>
            <a:rPr lang="en-GB" dirty="0"/>
            <a:t>Machine labelling</a:t>
          </a:r>
        </a:p>
      </dgm:t>
    </dgm:pt>
    <dgm:pt modelId="{1D3037B8-0342-4E9F-ABED-4A3EF398577E}" type="parTrans" cxnId="{508890F8-CA03-4F1B-A738-CEECCFFAAAFE}">
      <dgm:prSet/>
      <dgm:spPr/>
      <dgm:t>
        <a:bodyPr/>
        <a:lstStyle/>
        <a:p>
          <a:endParaRPr lang="en-GB"/>
        </a:p>
      </dgm:t>
    </dgm:pt>
    <dgm:pt modelId="{D57AD8DF-86D7-4B6F-A51F-5716729493FE}" type="sibTrans" cxnId="{508890F8-CA03-4F1B-A738-CEECCFFAAAFE}">
      <dgm:prSet/>
      <dgm:spPr/>
      <dgm:t>
        <a:bodyPr/>
        <a:lstStyle/>
        <a:p>
          <a:endParaRPr lang="en-GB"/>
        </a:p>
      </dgm:t>
    </dgm:pt>
    <dgm:pt modelId="{2F6E588E-C485-4217-98DC-6BFF76FA1F1B}">
      <dgm:prSet phldrT="[Text]"/>
      <dgm:spPr/>
      <dgm:t>
        <a:bodyPr/>
        <a:lstStyle/>
        <a:p>
          <a:r>
            <a:rPr lang="en-GB" dirty="0"/>
            <a:t>Manual evaluation of differences</a:t>
          </a:r>
        </a:p>
      </dgm:t>
    </dgm:pt>
    <dgm:pt modelId="{CAA20A61-D2DF-450A-9362-B1CE47E22BDB}" type="parTrans" cxnId="{973F5E8F-A948-4994-A438-5A9EE6CF8015}">
      <dgm:prSet/>
      <dgm:spPr/>
      <dgm:t>
        <a:bodyPr/>
        <a:lstStyle/>
        <a:p>
          <a:endParaRPr lang="en-GB"/>
        </a:p>
      </dgm:t>
    </dgm:pt>
    <dgm:pt modelId="{3D3F3AFA-6A07-4B2C-821E-2EF27DAAE367}" type="sibTrans" cxnId="{973F5E8F-A948-4994-A438-5A9EE6CF8015}">
      <dgm:prSet/>
      <dgm:spPr/>
      <dgm:t>
        <a:bodyPr/>
        <a:lstStyle/>
        <a:p>
          <a:endParaRPr lang="en-GB"/>
        </a:p>
      </dgm:t>
    </dgm:pt>
    <dgm:pt modelId="{7AE2B826-CB07-4AD2-8DAD-65908F059A85}">
      <dgm:prSet phldrT="[Text]"/>
      <dgm:spPr/>
      <dgm:t>
        <a:bodyPr/>
        <a:lstStyle/>
        <a:p>
          <a:r>
            <a:rPr lang="en-GB" dirty="0"/>
            <a:t>Manual identification of existing ESCO skills</a:t>
          </a:r>
        </a:p>
      </dgm:t>
    </dgm:pt>
    <dgm:pt modelId="{F82BC075-C55C-4F46-B5A6-499EA2F3DB2C}" type="parTrans" cxnId="{E25B7719-6753-4975-AF0B-30F37A425CD3}">
      <dgm:prSet/>
      <dgm:spPr/>
      <dgm:t>
        <a:bodyPr/>
        <a:lstStyle/>
        <a:p>
          <a:endParaRPr lang="en-GB"/>
        </a:p>
      </dgm:t>
    </dgm:pt>
    <dgm:pt modelId="{89672858-5AB3-4E5D-B487-33631D6965C7}" type="sibTrans" cxnId="{E25B7719-6753-4975-AF0B-30F37A425CD3}">
      <dgm:prSet/>
      <dgm:spPr/>
      <dgm:t>
        <a:bodyPr/>
        <a:lstStyle/>
        <a:p>
          <a:endParaRPr lang="en-GB"/>
        </a:p>
      </dgm:t>
    </dgm:pt>
    <dgm:pt modelId="{723CFCFF-8249-4F38-88BD-2D0CC50D37BA}">
      <dgm:prSet phldrT="[Text]"/>
      <dgm:spPr/>
      <dgm:t>
        <a:bodyPr/>
        <a:lstStyle/>
        <a:p>
          <a:r>
            <a:rPr lang="en-GB" dirty="0"/>
            <a:t>Train AI model</a:t>
          </a:r>
        </a:p>
      </dgm:t>
    </dgm:pt>
    <dgm:pt modelId="{064D6F86-C628-42AD-98CD-E391EA3BCF74}" type="parTrans" cxnId="{F1529B0D-934C-4933-B7D3-7D68DF0DFF67}">
      <dgm:prSet/>
      <dgm:spPr/>
      <dgm:t>
        <a:bodyPr/>
        <a:lstStyle/>
        <a:p>
          <a:endParaRPr lang="en-GB"/>
        </a:p>
      </dgm:t>
    </dgm:pt>
    <dgm:pt modelId="{7463004B-09BC-4B66-B2F9-5A38BC753A85}" type="sibTrans" cxnId="{F1529B0D-934C-4933-B7D3-7D68DF0DFF67}">
      <dgm:prSet/>
      <dgm:spPr/>
      <dgm:t>
        <a:bodyPr/>
        <a:lstStyle/>
        <a:p>
          <a:endParaRPr lang="en-GB"/>
        </a:p>
      </dgm:t>
    </dgm:pt>
    <dgm:pt modelId="{04E7D1E1-2363-42E7-B0B7-E4E9E3DC4781}">
      <dgm:prSet phldrT="[Text]"/>
      <dgm:spPr/>
      <dgm:t>
        <a:bodyPr/>
        <a:lstStyle/>
        <a:p>
          <a:r>
            <a:rPr lang="en-GB" dirty="0"/>
            <a:t>Identify green skills based on labour market data</a:t>
          </a:r>
        </a:p>
      </dgm:t>
    </dgm:pt>
    <dgm:pt modelId="{C4B6B825-0758-4983-A17F-E9D58EDEC032}" type="parTrans" cxnId="{3BEDA5F4-F465-4F20-8D41-771406F3BE47}">
      <dgm:prSet/>
      <dgm:spPr/>
      <dgm:t>
        <a:bodyPr/>
        <a:lstStyle/>
        <a:p>
          <a:endParaRPr lang="en-GB"/>
        </a:p>
      </dgm:t>
    </dgm:pt>
    <dgm:pt modelId="{6FE6E92D-B6E4-4640-A4D4-292468CD7E26}" type="sibTrans" cxnId="{3BEDA5F4-F465-4F20-8D41-771406F3BE47}">
      <dgm:prSet/>
      <dgm:spPr/>
      <dgm:t>
        <a:bodyPr/>
        <a:lstStyle/>
        <a:p>
          <a:endParaRPr lang="en-GB"/>
        </a:p>
      </dgm:t>
    </dgm:pt>
    <dgm:pt modelId="{961860D8-3F37-4AF1-92BA-D79F91367837}" type="pres">
      <dgm:prSet presAssocID="{2BB50EF6-162B-4142-AA7C-1CAC5634E003}" presName="Name0" presStyleCnt="0">
        <dgm:presLayoutVars>
          <dgm:dir/>
          <dgm:resizeHandles val="exact"/>
        </dgm:presLayoutVars>
      </dgm:prSet>
      <dgm:spPr/>
    </dgm:pt>
    <dgm:pt modelId="{0A0DB652-1B35-41A0-8890-CB07C723EAFD}" type="pres">
      <dgm:prSet presAssocID="{85833CEB-E713-4001-8CC0-3E82952667E4}" presName="composite" presStyleCnt="0"/>
      <dgm:spPr/>
    </dgm:pt>
    <dgm:pt modelId="{F60EB4B7-CF95-42B5-BE34-4484BB0783A4}" type="pres">
      <dgm:prSet presAssocID="{85833CEB-E713-4001-8CC0-3E82952667E4}" presName="bgChev" presStyleLbl="node1" presStyleIdx="0" presStyleCnt="3"/>
      <dgm:spPr/>
    </dgm:pt>
    <dgm:pt modelId="{61BE73F8-2DF6-44AC-A77E-759CF193139B}" type="pres">
      <dgm:prSet presAssocID="{85833CEB-E713-4001-8CC0-3E82952667E4}" presName="txNode" presStyleLbl="fgAcc1" presStyleIdx="0" presStyleCnt="3">
        <dgm:presLayoutVars>
          <dgm:bulletEnabled val="1"/>
        </dgm:presLayoutVars>
      </dgm:prSet>
      <dgm:spPr/>
    </dgm:pt>
    <dgm:pt modelId="{F6FB75C1-0F6A-4BF1-92EE-697FC5E814CD}" type="pres">
      <dgm:prSet presAssocID="{B0FB2820-E329-4F79-89A7-25F87F5763CE}" presName="compositeSpace" presStyleCnt="0"/>
      <dgm:spPr/>
    </dgm:pt>
    <dgm:pt modelId="{F0BFBC54-0195-4177-AB2F-6E59193595B3}" type="pres">
      <dgm:prSet presAssocID="{8847A955-C0CD-4597-A39F-AA8A06C61D33}" presName="composite" presStyleCnt="0"/>
      <dgm:spPr/>
    </dgm:pt>
    <dgm:pt modelId="{C7878251-FAE0-4DE8-90B2-C294D8F449DC}" type="pres">
      <dgm:prSet presAssocID="{8847A955-C0CD-4597-A39F-AA8A06C61D33}" presName="bgChev" presStyleLbl="node1" presStyleIdx="1" presStyleCnt="3"/>
      <dgm:spPr/>
    </dgm:pt>
    <dgm:pt modelId="{C06445B2-614A-4108-91CB-A7F32E8315F6}" type="pres">
      <dgm:prSet presAssocID="{8847A955-C0CD-4597-A39F-AA8A06C61D33}" presName="txNode" presStyleLbl="fgAcc1" presStyleIdx="1" presStyleCnt="3">
        <dgm:presLayoutVars>
          <dgm:bulletEnabled val="1"/>
        </dgm:presLayoutVars>
      </dgm:prSet>
      <dgm:spPr/>
    </dgm:pt>
    <dgm:pt modelId="{054E06C7-45DC-4392-9489-BFF27F9B59EE}" type="pres">
      <dgm:prSet presAssocID="{D57AD8DF-86D7-4B6F-A51F-5716729493FE}" presName="compositeSpace" presStyleCnt="0"/>
      <dgm:spPr/>
    </dgm:pt>
    <dgm:pt modelId="{1521A3D7-F665-4467-A7F5-4450F875F003}" type="pres">
      <dgm:prSet presAssocID="{2F6E588E-C485-4217-98DC-6BFF76FA1F1B}" presName="composite" presStyleCnt="0"/>
      <dgm:spPr/>
    </dgm:pt>
    <dgm:pt modelId="{08D17342-F190-4C8F-BDA1-A0A8F8DE2A92}" type="pres">
      <dgm:prSet presAssocID="{2F6E588E-C485-4217-98DC-6BFF76FA1F1B}" presName="bgChev" presStyleLbl="node1" presStyleIdx="2" presStyleCnt="3"/>
      <dgm:spPr/>
    </dgm:pt>
    <dgm:pt modelId="{265D8D00-8B88-40B0-90C0-291F8D057BA5}" type="pres">
      <dgm:prSet presAssocID="{2F6E588E-C485-4217-98DC-6BFF76FA1F1B}" presName="txNode" presStyleLbl="fgAcc1" presStyleIdx="2" presStyleCnt="3">
        <dgm:presLayoutVars>
          <dgm:bulletEnabled val="1"/>
        </dgm:presLayoutVars>
      </dgm:prSet>
      <dgm:spPr/>
    </dgm:pt>
  </dgm:ptLst>
  <dgm:cxnLst>
    <dgm:cxn modelId="{1BEEAC04-4B61-4619-B6A8-CFF2FD5B66EB}" type="presOf" srcId="{85833CEB-E713-4001-8CC0-3E82952667E4}" destId="{61BE73F8-2DF6-44AC-A77E-759CF193139B}" srcOrd="0" destOrd="0" presId="urn:microsoft.com/office/officeart/2005/8/layout/chevronAccent+Icon"/>
    <dgm:cxn modelId="{F1529B0D-934C-4933-B7D3-7D68DF0DFF67}" srcId="{8847A955-C0CD-4597-A39F-AA8A06C61D33}" destId="{723CFCFF-8249-4F38-88BD-2D0CC50D37BA}" srcOrd="0" destOrd="0" parTransId="{064D6F86-C628-42AD-98CD-E391EA3BCF74}" sibTransId="{7463004B-09BC-4B66-B2F9-5A38BC753A85}"/>
    <dgm:cxn modelId="{E25B7719-6753-4975-AF0B-30F37A425CD3}" srcId="{85833CEB-E713-4001-8CC0-3E82952667E4}" destId="{7AE2B826-CB07-4AD2-8DAD-65908F059A85}" srcOrd="0" destOrd="0" parTransId="{F82BC075-C55C-4F46-B5A6-499EA2F3DB2C}" sibTransId="{89672858-5AB3-4E5D-B487-33631D6965C7}"/>
    <dgm:cxn modelId="{14E68A24-D395-4AFC-BD67-E0F2FBC2AC5D}" type="presOf" srcId="{7AE2B826-CB07-4AD2-8DAD-65908F059A85}" destId="{61BE73F8-2DF6-44AC-A77E-759CF193139B}" srcOrd="0" destOrd="1" presId="urn:microsoft.com/office/officeart/2005/8/layout/chevronAccent+Icon"/>
    <dgm:cxn modelId="{75838835-464A-4428-BDEC-CC10250F2F91}" type="presOf" srcId="{04E7D1E1-2363-42E7-B0B7-E4E9E3DC4781}" destId="{C06445B2-614A-4108-91CB-A7F32E8315F6}" srcOrd="0" destOrd="2" presId="urn:microsoft.com/office/officeart/2005/8/layout/chevronAccent+Icon"/>
    <dgm:cxn modelId="{973F5E8F-A948-4994-A438-5A9EE6CF8015}" srcId="{2BB50EF6-162B-4142-AA7C-1CAC5634E003}" destId="{2F6E588E-C485-4217-98DC-6BFF76FA1F1B}" srcOrd="2" destOrd="0" parTransId="{CAA20A61-D2DF-450A-9362-B1CE47E22BDB}" sibTransId="{3D3F3AFA-6A07-4B2C-821E-2EF27DAAE367}"/>
    <dgm:cxn modelId="{8310C9A2-932E-40E3-97B4-DEC9C78A3649}" type="presOf" srcId="{2BB50EF6-162B-4142-AA7C-1CAC5634E003}" destId="{961860D8-3F37-4AF1-92BA-D79F91367837}" srcOrd="0" destOrd="0" presId="urn:microsoft.com/office/officeart/2005/8/layout/chevronAccent+Icon"/>
    <dgm:cxn modelId="{C90C8DA4-5071-4D0A-836C-1C46CCEBE153}" type="presOf" srcId="{2F6E588E-C485-4217-98DC-6BFF76FA1F1B}" destId="{265D8D00-8B88-40B0-90C0-291F8D057BA5}" srcOrd="0" destOrd="0" presId="urn:microsoft.com/office/officeart/2005/8/layout/chevronAccent+Icon"/>
    <dgm:cxn modelId="{6E6B86BF-82F4-49F9-A4CD-A7975A3978A7}" srcId="{2BB50EF6-162B-4142-AA7C-1CAC5634E003}" destId="{85833CEB-E713-4001-8CC0-3E82952667E4}" srcOrd="0" destOrd="0" parTransId="{28F18EA2-E2CC-4349-8D05-51A164ADA615}" sibTransId="{B0FB2820-E329-4F79-89A7-25F87F5763CE}"/>
    <dgm:cxn modelId="{343E29D3-C688-4641-8B5B-F19D59BC52EC}" type="presOf" srcId="{8847A955-C0CD-4597-A39F-AA8A06C61D33}" destId="{C06445B2-614A-4108-91CB-A7F32E8315F6}" srcOrd="0" destOrd="0" presId="urn:microsoft.com/office/officeart/2005/8/layout/chevronAccent+Icon"/>
    <dgm:cxn modelId="{E5B30AE2-1DDC-45B6-AA88-71FD627C4520}" type="presOf" srcId="{723CFCFF-8249-4F38-88BD-2D0CC50D37BA}" destId="{C06445B2-614A-4108-91CB-A7F32E8315F6}" srcOrd="0" destOrd="1" presId="urn:microsoft.com/office/officeart/2005/8/layout/chevronAccent+Icon"/>
    <dgm:cxn modelId="{3BEDA5F4-F465-4F20-8D41-771406F3BE47}" srcId="{8847A955-C0CD-4597-A39F-AA8A06C61D33}" destId="{04E7D1E1-2363-42E7-B0B7-E4E9E3DC4781}" srcOrd="1" destOrd="0" parTransId="{C4B6B825-0758-4983-A17F-E9D58EDEC032}" sibTransId="{6FE6E92D-B6E4-4640-A4D4-292468CD7E26}"/>
    <dgm:cxn modelId="{508890F8-CA03-4F1B-A738-CEECCFFAAAFE}" srcId="{2BB50EF6-162B-4142-AA7C-1CAC5634E003}" destId="{8847A955-C0CD-4597-A39F-AA8A06C61D33}" srcOrd="1" destOrd="0" parTransId="{1D3037B8-0342-4E9F-ABED-4A3EF398577E}" sibTransId="{D57AD8DF-86D7-4B6F-A51F-5716729493FE}"/>
    <dgm:cxn modelId="{46E987C4-4AC3-49F9-8326-F81A6CCCCEF2}" type="presParOf" srcId="{961860D8-3F37-4AF1-92BA-D79F91367837}" destId="{0A0DB652-1B35-41A0-8890-CB07C723EAFD}" srcOrd="0" destOrd="0" presId="urn:microsoft.com/office/officeart/2005/8/layout/chevronAccent+Icon"/>
    <dgm:cxn modelId="{6C35F1FA-8EB2-4073-988F-8641FBF7D81F}" type="presParOf" srcId="{0A0DB652-1B35-41A0-8890-CB07C723EAFD}" destId="{F60EB4B7-CF95-42B5-BE34-4484BB0783A4}" srcOrd="0" destOrd="0" presId="urn:microsoft.com/office/officeart/2005/8/layout/chevronAccent+Icon"/>
    <dgm:cxn modelId="{429C3D95-D8E9-41AF-8272-4B7FABFFECA1}" type="presParOf" srcId="{0A0DB652-1B35-41A0-8890-CB07C723EAFD}" destId="{61BE73F8-2DF6-44AC-A77E-759CF193139B}" srcOrd="1" destOrd="0" presId="urn:microsoft.com/office/officeart/2005/8/layout/chevronAccent+Icon"/>
    <dgm:cxn modelId="{13F201F2-84D1-4642-9F84-9547DE8CC518}" type="presParOf" srcId="{961860D8-3F37-4AF1-92BA-D79F91367837}" destId="{F6FB75C1-0F6A-4BF1-92EE-697FC5E814CD}" srcOrd="1" destOrd="0" presId="urn:microsoft.com/office/officeart/2005/8/layout/chevronAccent+Icon"/>
    <dgm:cxn modelId="{4EC9AA06-95AD-4E27-A87F-5385C2B3B6DD}" type="presParOf" srcId="{961860D8-3F37-4AF1-92BA-D79F91367837}" destId="{F0BFBC54-0195-4177-AB2F-6E59193595B3}" srcOrd="2" destOrd="0" presId="urn:microsoft.com/office/officeart/2005/8/layout/chevronAccent+Icon"/>
    <dgm:cxn modelId="{5EDF4602-30D2-4581-96E2-E08115BB8C67}" type="presParOf" srcId="{F0BFBC54-0195-4177-AB2F-6E59193595B3}" destId="{C7878251-FAE0-4DE8-90B2-C294D8F449DC}" srcOrd="0" destOrd="0" presId="urn:microsoft.com/office/officeart/2005/8/layout/chevronAccent+Icon"/>
    <dgm:cxn modelId="{D23DF20F-B72E-4266-AB79-A6C87B191E48}" type="presParOf" srcId="{F0BFBC54-0195-4177-AB2F-6E59193595B3}" destId="{C06445B2-614A-4108-91CB-A7F32E8315F6}" srcOrd="1" destOrd="0" presId="urn:microsoft.com/office/officeart/2005/8/layout/chevronAccent+Icon"/>
    <dgm:cxn modelId="{89338D5A-50E8-4A60-ADCB-CE0AF07ED7A2}" type="presParOf" srcId="{961860D8-3F37-4AF1-92BA-D79F91367837}" destId="{054E06C7-45DC-4392-9489-BFF27F9B59EE}" srcOrd="3" destOrd="0" presId="urn:microsoft.com/office/officeart/2005/8/layout/chevronAccent+Icon"/>
    <dgm:cxn modelId="{A9C2D85E-496B-46E2-AE57-8BB619B1201D}" type="presParOf" srcId="{961860D8-3F37-4AF1-92BA-D79F91367837}" destId="{1521A3D7-F665-4467-A7F5-4450F875F003}" srcOrd="4" destOrd="0" presId="urn:microsoft.com/office/officeart/2005/8/layout/chevronAccent+Icon"/>
    <dgm:cxn modelId="{DC76B54F-9EA4-4924-841C-0365E79117AA}" type="presParOf" srcId="{1521A3D7-F665-4467-A7F5-4450F875F003}" destId="{08D17342-F190-4C8F-BDA1-A0A8F8DE2A92}" srcOrd="0" destOrd="0" presId="urn:microsoft.com/office/officeart/2005/8/layout/chevronAccent+Icon"/>
    <dgm:cxn modelId="{6567ED5E-4B24-4773-BB28-F6191758322E}" type="presParOf" srcId="{1521A3D7-F665-4467-A7F5-4450F875F003}" destId="{265D8D00-8B88-40B0-90C0-291F8D057BA5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8D3ACBC-4BF6-4123-AE57-C66B5768FD19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005DBCE1-3115-4D85-88BC-E3DAF5515F69}">
      <dgm:prSet phldrT="[Text]" custT="1"/>
      <dgm:spPr/>
      <dgm:t>
        <a:bodyPr/>
        <a:lstStyle/>
        <a:p>
          <a:r>
            <a:rPr lang="en-GB" sz="1800" dirty="0">
              <a:solidFill>
                <a:schemeClr val="tx1"/>
              </a:solidFill>
            </a:rPr>
            <a:t>Receive and structure inputs</a:t>
          </a:r>
        </a:p>
      </dgm:t>
    </dgm:pt>
    <dgm:pt modelId="{394D9166-C1D1-43AA-89D4-6087A8E81398}" type="parTrans" cxnId="{725C9FE2-4603-4351-B891-9715B4A2FA38}">
      <dgm:prSet/>
      <dgm:spPr/>
      <dgm:t>
        <a:bodyPr/>
        <a:lstStyle/>
        <a:p>
          <a:endParaRPr lang="en-GB" sz="1600"/>
        </a:p>
      </dgm:t>
    </dgm:pt>
    <dgm:pt modelId="{8533B66A-197E-4EC3-8B0E-999FCC43E92C}" type="sibTrans" cxnId="{725C9FE2-4603-4351-B891-9715B4A2FA38}">
      <dgm:prSet/>
      <dgm:spPr/>
      <dgm:t>
        <a:bodyPr/>
        <a:lstStyle/>
        <a:p>
          <a:endParaRPr lang="en-GB" sz="1600"/>
        </a:p>
      </dgm:t>
    </dgm:pt>
    <dgm:pt modelId="{3F0AD1B4-5A54-4701-B31D-DFE07F72C4D1}">
      <dgm:prSet phldrT="[Text]" custT="1"/>
      <dgm:spPr/>
      <dgm:t>
        <a:bodyPr/>
        <a:lstStyle/>
        <a:p>
          <a:r>
            <a:rPr lang="en-GB" sz="1800" dirty="0">
              <a:solidFill>
                <a:schemeClr val="tx1"/>
              </a:solidFill>
            </a:rPr>
            <a:t>Analyse inputs</a:t>
          </a:r>
        </a:p>
      </dgm:t>
    </dgm:pt>
    <dgm:pt modelId="{A4A4D505-9E95-48DC-8FA6-33ECD8C61929}" type="parTrans" cxnId="{C7D6BD5C-57EB-4A38-8602-A4132AB65140}">
      <dgm:prSet/>
      <dgm:spPr/>
      <dgm:t>
        <a:bodyPr/>
        <a:lstStyle/>
        <a:p>
          <a:endParaRPr lang="en-GB" sz="1600"/>
        </a:p>
      </dgm:t>
    </dgm:pt>
    <dgm:pt modelId="{D4107021-5507-4984-9B0F-EC66313835E2}" type="sibTrans" cxnId="{C7D6BD5C-57EB-4A38-8602-A4132AB65140}">
      <dgm:prSet/>
      <dgm:spPr/>
      <dgm:t>
        <a:bodyPr/>
        <a:lstStyle/>
        <a:p>
          <a:endParaRPr lang="en-GB" sz="1600"/>
        </a:p>
      </dgm:t>
    </dgm:pt>
    <dgm:pt modelId="{84C80103-4442-4410-A6FA-8723891E79B4}">
      <dgm:prSet phldrT="[Text]" custT="1"/>
      <dgm:spPr/>
      <dgm:t>
        <a:bodyPr/>
        <a:lstStyle/>
        <a:p>
          <a:r>
            <a:rPr lang="en-GB" sz="1800" dirty="0">
              <a:solidFill>
                <a:schemeClr val="tx1"/>
              </a:solidFill>
            </a:rPr>
            <a:t>Update the classification</a:t>
          </a:r>
        </a:p>
      </dgm:t>
    </dgm:pt>
    <dgm:pt modelId="{40652B9A-D3F0-45BF-902F-6E5053E6F26A}" type="parTrans" cxnId="{D42AEEEF-6ED2-4BD2-ABDA-CE33D6192D66}">
      <dgm:prSet/>
      <dgm:spPr/>
      <dgm:t>
        <a:bodyPr/>
        <a:lstStyle/>
        <a:p>
          <a:endParaRPr lang="en-GB" sz="1600"/>
        </a:p>
      </dgm:t>
    </dgm:pt>
    <dgm:pt modelId="{ED80D6DD-59BE-4BFE-A130-2A6CCABE1218}" type="sibTrans" cxnId="{D42AEEEF-6ED2-4BD2-ABDA-CE33D6192D66}">
      <dgm:prSet/>
      <dgm:spPr/>
      <dgm:t>
        <a:bodyPr/>
        <a:lstStyle/>
        <a:p>
          <a:endParaRPr lang="en-GB" sz="1600"/>
        </a:p>
      </dgm:t>
    </dgm:pt>
    <dgm:pt modelId="{BC4F0DB7-B389-44BE-83BC-41C01AAAB720}" type="pres">
      <dgm:prSet presAssocID="{48D3ACBC-4BF6-4123-AE57-C66B5768FD19}" presName="rootnode" presStyleCnt="0">
        <dgm:presLayoutVars>
          <dgm:chMax/>
          <dgm:chPref/>
          <dgm:dir/>
          <dgm:animLvl val="lvl"/>
        </dgm:presLayoutVars>
      </dgm:prSet>
      <dgm:spPr/>
    </dgm:pt>
    <dgm:pt modelId="{2A8961E1-2884-4B03-B8C2-4291F3FB860B}" type="pres">
      <dgm:prSet presAssocID="{005DBCE1-3115-4D85-88BC-E3DAF5515F69}" presName="composite" presStyleCnt="0"/>
      <dgm:spPr/>
    </dgm:pt>
    <dgm:pt modelId="{0E3BE752-99C8-49FE-ADDC-F281D0DBEDEE}" type="pres">
      <dgm:prSet presAssocID="{005DBCE1-3115-4D85-88BC-E3DAF5515F69}" presName="bentUpArrow1" presStyleLbl="alignImgPlace1" presStyleIdx="0" presStyleCnt="2" custScaleX="58101" custScaleY="75488" custLinFactNeighborX="12143" custLinFactNeighborY="-6286"/>
      <dgm:spPr/>
    </dgm:pt>
    <dgm:pt modelId="{01F70561-AC63-4187-B37C-7E8D7060BF34}" type="pres">
      <dgm:prSet presAssocID="{005DBCE1-3115-4D85-88BC-E3DAF5515F69}" presName="ParentText" presStyleLbl="node1" presStyleIdx="0" presStyleCnt="3" custScaleX="83179" custScaleY="83476">
        <dgm:presLayoutVars>
          <dgm:chMax val="1"/>
          <dgm:chPref val="1"/>
          <dgm:bulletEnabled val="1"/>
        </dgm:presLayoutVars>
      </dgm:prSet>
      <dgm:spPr/>
    </dgm:pt>
    <dgm:pt modelId="{76C97204-3096-454D-AAEA-E5C4A40AB672}" type="pres">
      <dgm:prSet presAssocID="{005DBCE1-3115-4D85-88BC-E3DAF5515F69}" presName="ChildText" presStyleLbl="revTx" presStyleIdx="0" presStyleCnt="2" custScaleX="273505" custLinFactNeighborX="80230" custLinFactNeighborY="1227">
        <dgm:presLayoutVars>
          <dgm:chMax val="0"/>
          <dgm:chPref val="0"/>
          <dgm:bulletEnabled val="1"/>
        </dgm:presLayoutVars>
      </dgm:prSet>
      <dgm:spPr/>
    </dgm:pt>
    <dgm:pt modelId="{93AF9037-C63F-4481-AD68-F6DF366FCB97}" type="pres">
      <dgm:prSet presAssocID="{8533B66A-197E-4EC3-8B0E-999FCC43E92C}" presName="sibTrans" presStyleCnt="0"/>
      <dgm:spPr/>
    </dgm:pt>
    <dgm:pt modelId="{3164D4C0-2B82-4D4E-B505-47EEA3884FA1}" type="pres">
      <dgm:prSet presAssocID="{3F0AD1B4-5A54-4701-B31D-DFE07F72C4D1}" presName="composite" presStyleCnt="0"/>
      <dgm:spPr/>
    </dgm:pt>
    <dgm:pt modelId="{D49B69F4-0092-4B47-9EAF-29A3E9D5EFE9}" type="pres">
      <dgm:prSet presAssocID="{3F0AD1B4-5A54-4701-B31D-DFE07F72C4D1}" presName="bentUpArrow1" presStyleLbl="alignImgPlace1" presStyleIdx="1" presStyleCnt="2" custScaleX="73822" custScaleY="73707" custLinFactNeighborX="-14529" custLinFactNeighborY="-9693"/>
      <dgm:spPr/>
    </dgm:pt>
    <dgm:pt modelId="{29F9752A-6C81-4679-AEB6-0C822BCDEF8A}" type="pres">
      <dgm:prSet presAssocID="{3F0AD1B4-5A54-4701-B31D-DFE07F72C4D1}" presName="ParentText" presStyleLbl="node1" presStyleIdx="1" presStyleCnt="3" custScaleX="71152" custScaleY="83444" custLinFactNeighborX="-28250" custLinFactNeighborY="-1088">
        <dgm:presLayoutVars>
          <dgm:chMax val="1"/>
          <dgm:chPref val="1"/>
          <dgm:bulletEnabled val="1"/>
        </dgm:presLayoutVars>
      </dgm:prSet>
      <dgm:spPr/>
    </dgm:pt>
    <dgm:pt modelId="{51F65F2B-CFB0-45B9-8FFE-5846BE489CFE}" type="pres">
      <dgm:prSet presAssocID="{3F0AD1B4-5A54-4701-B31D-DFE07F72C4D1}" presName="ChildText" presStyleLbl="revTx" presStyleIdx="1" presStyleCnt="2" custScaleX="259997" custLinFactNeighborX="37271" custLinFactNeighborY="1141">
        <dgm:presLayoutVars>
          <dgm:chMax val="0"/>
          <dgm:chPref val="0"/>
          <dgm:bulletEnabled val="1"/>
        </dgm:presLayoutVars>
      </dgm:prSet>
      <dgm:spPr/>
    </dgm:pt>
    <dgm:pt modelId="{797E4E60-01BC-445A-8EE5-AA073CE7A000}" type="pres">
      <dgm:prSet presAssocID="{D4107021-5507-4984-9B0F-EC66313835E2}" presName="sibTrans" presStyleCnt="0"/>
      <dgm:spPr/>
    </dgm:pt>
    <dgm:pt modelId="{DC6FD6B6-4FC5-4767-AA8F-3618E4946D7F}" type="pres">
      <dgm:prSet presAssocID="{84C80103-4442-4410-A6FA-8723891E79B4}" presName="composite" presStyleCnt="0"/>
      <dgm:spPr/>
    </dgm:pt>
    <dgm:pt modelId="{7E8CC1B3-A0D0-4DC2-B85D-9EA8E5795685}" type="pres">
      <dgm:prSet presAssocID="{84C80103-4442-4410-A6FA-8723891E79B4}" presName="ParentText" presStyleLbl="node1" presStyleIdx="2" presStyleCnt="3" custScaleX="79913" custScaleY="69306" custLinFactNeighborX="-48678" custLinFactNeighborY="-4492">
        <dgm:presLayoutVars>
          <dgm:chMax val="1"/>
          <dgm:chPref val="1"/>
          <dgm:bulletEnabled val="1"/>
        </dgm:presLayoutVars>
      </dgm:prSet>
      <dgm:spPr/>
    </dgm:pt>
  </dgm:ptLst>
  <dgm:cxnLst>
    <dgm:cxn modelId="{CD897D0C-F6AE-4AF3-90A0-3F37BEE97D93}" type="presOf" srcId="{3F0AD1B4-5A54-4701-B31D-DFE07F72C4D1}" destId="{29F9752A-6C81-4679-AEB6-0C822BCDEF8A}" srcOrd="0" destOrd="0" presId="urn:microsoft.com/office/officeart/2005/8/layout/StepDownProcess"/>
    <dgm:cxn modelId="{A4143B0F-10EB-40B8-93A6-26C49CE23FCD}" type="presOf" srcId="{84C80103-4442-4410-A6FA-8723891E79B4}" destId="{7E8CC1B3-A0D0-4DC2-B85D-9EA8E5795685}" srcOrd="0" destOrd="0" presId="urn:microsoft.com/office/officeart/2005/8/layout/StepDownProcess"/>
    <dgm:cxn modelId="{C7D6BD5C-57EB-4A38-8602-A4132AB65140}" srcId="{48D3ACBC-4BF6-4123-AE57-C66B5768FD19}" destId="{3F0AD1B4-5A54-4701-B31D-DFE07F72C4D1}" srcOrd="1" destOrd="0" parTransId="{A4A4D505-9E95-48DC-8FA6-33ECD8C61929}" sibTransId="{D4107021-5507-4984-9B0F-EC66313835E2}"/>
    <dgm:cxn modelId="{6FFBDE49-48BD-43E6-8594-A64BB4739585}" type="presOf" srcId="{005DBCE1-3115-4D85-88BC-E3DAF5515F69}" destId="{01F70561-AC63-4187-B37C-7E8D7060BF34}" srcOrd="0" destOrd="0" presId="urn:microsoft.com/office/officeart/2005/8/layout/StepDownProcess"/>
    <dgm:cxn modelId="{013A0FAD-EBA7-4068-A937-D8500401C4F4}" type="presOf" srcId="{48D3ACBC-4BF6-4123-AE57-C66B5768FD19}" destId="{BC4F0DB7-B389-44BE-83BC-41C01AAAB720}" srcOrd="0" destOrd="0" presId="urn:microsoft.com/office/officeart/2005/8/layout/StepDownProcess"/>
    <dgm:cxn modelId="{725C9FE2-4603-4351-B891-9715B4A2FA38}" srcId="{48D3ACBC-4BF6-4123-AE57-C66B5768FD19}" destId="{005DBCE1-3115-4D85-88BC-E3DAF5515F69}" srcOrd="0" destOrd="0" parTransId="{394D9166-C1D1-43AA-89D4-6087A8E81398}" sibTransId="{8533B66A-197E-4EC3-8B0E-999FCC43E92C}"/>
    <dgm:cxn modelId="{D42AEEEF-6ED2-4BD2-ABDA-CE33D6192D66}" srcId="{48D3ACBC-4BF6-4123-AE57-C66B5768FD19}" destId="{84C80103-4442-4410-A6FA-8723891E79B4}" srcOrd="2" destOrd="0" parTransId="{40652B9A-D3F0-45BF-902F-6E5053E6F26A}" sibTransId="{ED80D6DD-59BE-4BFE-A130-2A6CCABE1218}"/>
    <dgm:cxn modelId="{5D3308EE-49AA-4B8E-90CD-0335D2D2C757}" type="presParOf" srcId="{BC4F0DB7-B389-44BE-83BC-41C01AAAB720}" destId="{2A8961E1-2884-4B03-B8C2-4291F3FB860B}" srcOrd="0" destOrd="0" presId="urn:microsoft.com/office/officeart/2005/8/layout/StepDownProcess"/>
    <dgm:cxn modelId="{E22720B7-80E5-4791-872F-2D1D17EB6554}" type="presParOf" srcId="{2A8961E1-2884-4B03-B8C2-4291F3FB860B}" destId="{0E3BE752-99C8-49FE-ADDC-F281D0DBEDEE}" srcOrd="0" destOrd="0" presId="urn:microsoft.com/office/officeart/2005/8/layout/StepDownProcess"/>
    <dgm:cxn modelId="{0DC3268D-1B62-414D-A009-0579549756B9}" type="presParOf" srcId="{2A8961E1-2884-4B03-B8C2-4291F3FB860B}" destId="{01F70561-AC63-4187-B37C-7E8D7060BF34}" srcOrd="1" destOrd="0" presId="urn:microsoft.com/office/officeart/2005/8/layout/StepDownProcess"/>
    <dgm:cxn modelId="{27220318-B908-4E89-B653-88517F5D0754}" type="presParOf" srcId="{2A8961E1-2884-4B03-B8C2-4291F3FB860B}" destId="{76C97204-3096-454D-AAEA-E5C4A40AB672}" srcOrd="2" destOrd="0" presId="urn:microsoft.com/office/officeart/2005/8/layout/StepDownProcess"/>
    <dgm:cxn modelId="{219BE5B5-EE9E-41BB-BCD1-4D5968B36A2A}" type="presParOf" srcId="{BC4F0DB7-B389-44BE-83BC-41C01AAAB720}" destId="{93AF9037-C63F-4481-AD68-F6DF366FCB97}" srcOrd="1" destOrd="0" presId="urn:microsoft.com/office/officeart/2005/8/layout/StepDownProcess"/>
    <dgm:cxn modelId="{AFD7ED03-3B68-429F-A954-6E4AE71ECCCD}" type="presParOf" srcId="{BC4F0DB7-B389-44BE-83BC-41C01AAAB720}" destId="{3164D4C0-2B82-4D4E-B505-47EEA3884FA1}" srcOrd="2" destOrd="0" presId="urn:microsoft.com/office/officeart/2005/8/layout/StepDownProcess"/>
    <dgm:cxn modelId="{DE60F938-B5ED-4347-A150-B83EFA7A30E0}" type="presParOf" srcId="{3164D4C0-2B82-4D4E-B505-47EEA3884FA1}" destId="{D49B69F4-0092-4B47-9EAF-29A3E9D5EFE9}" srcOrd="0" destOrd="0" presId="urn:microsoft.com/office/officeart/2005/8/layout/StepDownProcess"/>
    <dgm:cxn modelId="{2C79F212-D12A-4EFF-A41A-36A128DB1151}" type="presParOf" srcId="{3164D4C0-2B82-4D4E-B505-47EEA3884FA1}" destId="{29F9752A-6C81-4679-AEB6-0C822BCDEF8A}" srcOrd="1" destOrd="0" presId="urn:microsoft.com/office/officeart/2005/8/layout/StepDownProcess"/>
    <dgm:cxn modelId="{A8526F1F-9861-4BB2-BA00-7F7C41E2EDBE}" type="presParOf" srcId="{3164D4C0-2B82-4D4E-B505-47EEA3884FA1}" destId="{51F65F2B-CFB0-45B9-8FFE-5846BE489CFE}" srcOrd="2" destOrd="0" presId="urn:microsoft.com/office/officeart/2005/8/layout/StepDownProcess"/>
    <dgm:cxn modelId="{3DE11C1F-F57F-4BEA-B54E-437196585160}" type="presParOf" srcId="{BC4F0DB7-B389-44BE-83BC-41C01AAAB720}" destId="{797E4E60-01BC-445A-8EE5-AA073CE7A000}" srcOrd="3" destOrd="0" presId="urn:microsoft.com/office/officeart/2005/8/layout/StepDownProcess"/>
    <dgm:cxn modelId="{370C3DE4-94F5-4700-AA31-8114A7618075}" type="presParOf" srcId="{BC4F0DB7-B389-44BE-83BC-41C01AAAB720}" destId="{DC6FD6B6-4FC5-4767-AA8F-3618E4946D7F}" srcOrd="4" destOrd="0" presId="urn:microsoft.com/office/officeart/2005/8/layout/StepDownProcess"/>
    <dgm:cxn modelId="{F7A9C684-3F5E-497B-8D60-7FDF5070BC4B}" type="presParOf" srcId="{DC6FD6B6-4FC5-4767-AA8F-3618E4946D7F}" destId="{7E8CC1B3-A0D0-4DC2-B85D-9EA8E5795685}" srcOrd="0" destOrd="0" presId="urn:microsoft.com/office/officeart/2005/8/layout/StepDownProcess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8D3ACBC-4BF6-4123-AE57-C66B5768FD19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005DBCE1-3115-4D85-88BC-E3DAF5515F69}">
      <dgm:prSet phldrT="[Text]" custT="1"/>
      <dgm:spPr/>
      <dgm:t>
        <a:bodyPr/>
        <a:lstStyle/>
        <a:p>
          <a:r>
            <a:rPr lang="en-GB" sz="1800">
              <a:solidFill>
                <a:schemeClr val="tx1"/>
              </a:solidFill>
            </a:rPr>
            <a:t>Receive and structure inputs</a:t>
          </a:r>
          <a:endParaRPr lang="en-GB" sz="1800" dirty="0">
            <a:solidFill>
              <a:schemeClr val="tx1"/>
            </a:solidFill>
          </a:endParaRPr>
        </a:p>
      </dgm:t>
    </dgm:pt>
    <dgm:pt modelId="{394D9166-C1D1-43AA-89D4-6087A8E81398}" type="parTrans" cxnId="{725C9FE2-4603-4351-B891-9715B4A2FA38}">
      <dgm:prSet/>
      <dgm:spPr/>
      <dgm:t>
        <a:bodyPr/>
        <a:lstStyle/>
        <a:p>
          <a:endParaRPr lang="en-GB" sz="1600"/>
        </a:p>
      </dgm:t>
    </dgm:pt>
    <dgm:pt modelId="{8533B66A-197E-4EC3-8B0E-999FCC43E92C}" type="sibTrans" cxnId="{725C9FE2-4603-4351-B891-9715B4A2FA38}">
      <dgm:prSet/>
      <dgm:spPr/>
      <dgm:t>
        <a:bodyPr/>
        <a:lstStyle/>
        <a:p>
          <a:endParaRPr lang="en-GB" sz="1600"/>
        </a:p>
      </dgm:t>
    </dgm:pt>
    <dgm:pt modelId="{3F2A42AD-D696-442A-AEB5-9831B389D96D}">
      <dgm:prSet phldrT="[Text]" custT="1"/>
      <dgm:spPr/>
      <dgm:t>
        <a:bodyPr/>
        <a:lstStyle/>
        <a:p>
          <a:r>
            <a:rPr lang="en-GB" sz="1400" dirty="0"/>
            <a:t> </a:t>
          </a:r>
          <a:r>
            <a:rPr lang="en-GB" sz="1400" b="1" dirty="0"/>
            <a:t>Streamline</a:t>
          </a:r>
          <a:r>
            <a:rPr lang="en-GB" sz="1400" dirty="0"/>
            <a:t> different </a:t>
          </a:r>
          <a:r>
            <a:rPr lang="en-GB" sz="1400" b="1" dirty="0"/>
            <a:t>data formats</a:t>
          </a:r>
        </a:p>
      </dgm:t>
    </dgm:pt>
    <dgm:pt modelId="{BC79D972-EFA9-4A89-8CE6-79E1878F664B}" type="parTrans" cxnId="{019FCC69-E446-455A-8F6E-5773D426016A}">
      <dgm:prSet/>
      <dgm:spPr/>
      <dgm:t>
        <a:bodyPr/>
        <a:lstStyle/>
        <a:p>
          <a:endParaRPr lang="en-GB" sz="1600"/>
        </a:p>
      </dgm:t>
    </dgm:pt>
    <dgm:pt modelId="{75426987-4F2B-4488-9296-DC03F0C9B752}" type="sibTrans" cxnId="{019FCC69-E446-455A-8F6E-5773D426016A}">
      <dgm:prSet/>
      <dgm:spPr/>
      <dgm:t>
        <a:bodyPr/>
        <a:lstStyle/>
        <a:p>
          <a:endParaRPr lang="en-GB" sz="1600"/>
        </a:p>
      </dgm:t>
    </dgm:pt>
    <dgm:pt modelId="{3F0AD1B4-5A54-4701-B31D-DFE07F72C4D1}">
      <dgm:prSet phldrT="[Text]" custT="1"/>
      <dgm:spPr/>
      <dgm:t>
        <a:bodyPr/>
        <a:lstStyle/>
        <a:p>
          <a:r>
            <a:rPr lang="en-GB" sz="1800">
              <a:solidFill>
                <a:schemeClr val="tx1"/>
              </a:solidFill>
            </a:rPr>
            <a:t>Analyse inputs</a:t>
          </a:r>
          <a:endParaRPr lang="en-GB" sz="1800" dirty="0">
            <a:solidFill>
              <a:schemeClr val="tx1"/>
            </a:solidFill>
          </a:endParaRPr>
        </a:p>
      </dgm:t>
    </dgm:pt>
    <dgm:pt modelId="{A4A4D505-9E95-48DC-8FA6-33ECD8C61929}" type="parTrans" cxnId="{C7D6BD5C-57EB-4A38-8602-A4132AB65140}">
      <dgm:prSet/>
      <dgm:spPr/>
      <dgm:t>
        <a:bodyPr/>
        <a:lstStyle/>
        <a:p>
          <a:endParaRPr lang="en-GB" sz="1600"/>
        </a:p>
      </dgm:t>
    </dgm:pt>
    <dgm:pt modelId="{D4107021-5507-4984-9B0F-EC66313835E2}" type="sibTrans" cxnId="{C7D6BD5C-57EB-4A38-8602-A4132AB65140}">
      <dgm:prSet/>
      <dgm:spPr/>
      <dgm:t>
        <a:bodyPr/>
        <a:lstStyle/>
        <a:p>
          <a:endParaRPr lang="en-GB" sz="1600"/>
        </a:p>
      </dgm:t>
    </dgm:pt>
    <dgm:pt modelId="{AF5CD8D5-C834-44B8-B713-BDA1F6D7A30B}">
      <dgm:prSet phldrT="[Text]" custT="1"/>
      <dgm:spPr/>
      <dgm:t>
        <a:bodyPr/>
        <a:lstStyle/>
        <a:p>
          <a:r>
            <a:rPr lang="en-GB" sz="1400"/>
            <a:t> Remove redundant information in the input</a:t>
          </a:r>
          <a:endParaRPr lang="en-GB" sz="1400" dirty="0"/>
        </a:p>
      </dgm:t>
    </dgm:pt>
    <dgm:pt modelId="{E1A60208-8B61-483F-B721-A887B0AB40D8}" type="parTrans" cxnId="{0B2D6D06-7561-480B-837C-5F0084CEE2CD}">
      <dgm:prSet/>
      <dgm:spPr/>
      <dgm:t>
        <a:bodyPr/>
        <a:lstStyle/>
        <a:p>
          <a:endParaRPr lang="en-GB" sz="1600"/>
        </a:p>
      </dgm:t>
    </dgm:pt>
    <dgm:pt modelId="{B8B568CE-5380-44BA-BCC9-4B006FF401DB}" type="sibTrans" cxnId="{0B2D6D06-7561-480B-837C-5F0084CEE2CD}">
      <dgm:prSet/>
      <dgm:spPr/>
      <dgm:t>
        <a:bodyPr/>
        <a:lstStyle/>
        <a:p>
          <a:endParaRPr lang="en-GB" sz="1600"/>
        </a:p>
      </dgm:t>
    </dgm:pt>
    <dgm:pt modelId="{84C80103-4442-4410-A6FA-8723891E79B4}">
      <dgm:prSet phldrT="[Text]" custT="1"/>
      <dgm:spPr/>
      <dgm:t>
        <a:bodyPr/>
        <a:lstStyle/>
        <a:p>
          <a:r>
            <a:rPr lang="en-GB" sz="1800">
              <a:solidFill>
                <a:schemeClr val="tx1"/>
              </a:solidFill>
            </a:rPr>
            <a:t>Update the classification</a:t>
          </a:r>
          <a:endParaRPr lang="en-GB" sz="1800" dirty="0">
            <a:solidFill>
              <a:schemeClr val="tx1"/>
            </a:solidFill>
          </a:endParaRPr>
        </a:p>
      </dgm:t>
    </dgm:pt>
    <dgm:pt modelId="{40652B9A-D3F0-45BF-902F-6E5053E6F26A}" type="parTrans" cxnId="{D42AEEEF-6ED2-4BD2-ABDA-CE33D6192D66}">
      <dgm:prSet/>
      <dgm:spPr/>
      <dgm:t>
        <a:bodyPr/>
        <a:lstStyle/>
        <a:p>
          <a:endParaRPr lang="en-GB" sz="1600"/>
        </a:p>
      </dgm:t>
    </dgm:pt>
    <dgm:pt modelId="{ED80D6DD-59BE-4BFE-A130-2A6CCABE1218}" type="sibTrans" cxnId="{D42AEEEF-6ED2-4BD2-ABDA-CE33D6192D66}">
      <dgm:prSet/>
      <dgm:spPr/>
      <dgm:t>
        <a:bodyPr/>
        <a:lstStyle/>
        <a:p>
          <a:endParaRPr lang="en-GB" sz="1600"/>
        </a:p>
      </dgm:t>
    </dgm:pt>
    <dgm:pt modelId="{86044F55-1E11-4FFE-9EF0-6E52E091CBFB}">
      <dgm:prSet phldrT="[Text]" custT="1"/>
      <dgm:spPr/>
      <dgm:t>
        <a:bodyPr/>
        <a:lstStyle/>
        <a:p>
          <a:r>
            <a:rPr lang="en-GB" sz="1400" dirty="0"/>
            <a:t> Support </a:t>
          </a:r>
          <a:r>
            <a:rPr lang="en-GB" sz="1400" b="1" dirty="0"/>
            <a:t>terminological development</a:t>
          </a:r>
        </a:p>
      </dgm:t>
    </dgm:pt>
    <dgm:pt modelId="{F4B885D9-D58C-4F40-8EE9-60102FCD1078}" type="parTrans" cxnId="{20FF8526-BA52-4687-A0C5-D8070EEB84AD}">
      <dgm:prSet/>
      <dgm:spPr/>
      <dgm:t>
        <a:bodyPr/>
        <a:lstStyle/>
        <a:p>
          <a:endParaRPr lang="en-GB" sz="1600"/>
        </a:p>
      </dgm:t>
    </dgm:pt>
    <dgm:pt modelId="{3BC63ECC-0744-446D-AC4A-852E6158769D}" type="sibTrans" cxnId="{20FF8526-BA52-4687-A0C5-D8070EEB84AD}">
      <dgm:prSet/>
      <dgm:spPr/>
      <dgm:t>
        <a:bodyPr/>
        <a:lstStyle/>
        <a:p>
          <a:endParaRPr lang="en-GB" sz="1600"/>
        </a:p>
      </dgm:t>
    </dgm:pt>
    <dgm:pt modelId="{FBA4BBCE-69BF-4568-A41A-4019F3982F50}">
      <dgm:prSet phldrT="[Text]" custT="1"/>
      <dgm:spPr/>
      <dgm:t>
        <a:bodyPr/>
        <a:lstStyle/>
        <a:p>
          <a:r>
            <a:rPr lang="en-GB" sz="1400" b="1"/>
            <a:t> Content labelling </a:t>
          </a:r>
          <a:r>
            <a:rPr lang="en-GB" sz="1400" b="0"/>
            <a:t>(e.g. green skills)</a:t>
          </a:r>
          <a:endParaRPr lang="en-GB" sz="1400" b="1" dirty="0"/>
        </a:p>
      </dgm:t>
    </dgm:pt>
    <dgm:pt modelId="{9F65BEE2-CFDB-489E-8411-580908EEEC85}" type="parTrans" cxnId="{DCE4D3D4-FEB0-40F7-AE09-4F42C28097F8}">
      <dgm:prSet/>
      <dgm:spPr/>
      <dgm:t>
        <a:bodyPr/>
        <a:lstStyle/>
        <a:p>
          <a:endParaRPr lang="en-GB"/>
        </a:p>
      </dgm:t>
    </dgm:pt>
    <dgm:pt modelId="{5EEB55E5-D4D3-4F53-ADBE-E68CBAA46716}" type="sibTrans" cxnId="{DCE4D3D4-FEB0-40F7-AE09-4F42C28097F8}">
      <dgm:prSet/>
      <dgm:spPr/>
      <dgm:t>
        <a:bodyPr/>
        <a:lstStyle/>
        <a:p>
          <a:endParaRPr lang="en-GB"/>
        </a:p>
      </dgm:t>
    </dgm:pt>
    <dgm:pt modelId="{BB70EB00-4B6F-4F32-8E12-44995762FADC}">
      <dgm:prSet phldrT="[Text]" custT="1"/>
      <dgm:spPr/>
      <dgm:t>
        <a:bodyPr/>
        <a:lstStyle/>
        <a:p>
          <a:r>
            <a:rPr lang="en-GB" sz="1400" b="1"/>
            <a:t> Translate alternative labels</a:t>
          </a:r>
          <a:endParaRPr lang="en-GB" sz="1400" b="1" dirty="0"/>
        </a:p>
      </dgm:t>
    </dgm:pt>
    <dgm:pt modelId="{9A58AE93-0775-4BB0-805C-51F731BA7950}" type="parTrans" cxnId="{D9602FB6-9997-4F40-8381-2E2F7A537680}">
      <dgm:prSet/>
      <dgm:spPr/>
      <dgm:t>
        <a:bodyPr/>
        <a:lstStyle/>
        <a:p>
          <a:endParaRPr lang="en-GB"/>
        </a:p>
      </dgm:t>
    </dgm:pt>
    <dgm:pt modelId="{F44AA427-5428-4FF4-93B1-A80B9B7E529E}" type="sibTrans" cxnId="{D9602FB6-9997-4F40-8381-2E2F7A537680}">
      <dgm:prSet/>
      <dgm:spPr/>
      <dgm:t>
        <a:bodyPr/>
        <a:lstStyle/>
        <a:p>
          <a:endParaRPr lang="en-GB"/>
        </a:p>
      </dgm:t>
    </dgm:pt>
    <dgm:pt modelId="{8C46B74D-CDC4-4D2D-9E81-A0E80B35D293}">
      <dgm:prSet phldrT="[Text]" custT="1"/>
      <dgm:spPr/>
      <dgm:t>
        <a:bodyPr/>
        <a:lstStyle/>
        <a:p>
          <a:r>
            <a:rPr lang="en-GB" sz="1400" dirty="0"/>
            <a:t> Detect what is </a:t>
          </a:r>
          <a:r>
            <a:rPr lang="en-GB" sz="1400" b="1" dirty="0"/>
            <a:t>already included </a:t>
          </a:r>
          <a:r>
            <a:rPr lang="en-GB" sz="1400" dirty="0"/>
            <a:t>in ESCO</a:t>
          </a:r>
        </a:p>
      </dgm:t>
    </dgm:pt>
    <dgm:pt modelId="{9BA94DD4-6368-42C9-ACE5-8D6D19ECF2E8}" type="parTrans" cxnId="{9956072C-84FF-4CBB-BD8F-0470977049E5}">
      <dgm:prSet/>
      <dgm:spPr/>
      <dgm:t>
        <a:bodyPr/>
        <a:lstStyle/>
        <a:p>
          <a:endParaRPr lang="en-GB"/>
        </a:p>
      </dgm:t>
    </dgm:pt>
    <dgm:pt modelId="{A5E63F8C-FE06-4DFD-AE61-D0B7995CB75D}" type="sibTrans" cxnId="{9956072C-84FF-4CBB-BD8F-0470977049E5}">
      <dgm:prSet/>
      <dgm:spPr/>
      <dgm:t>
        <a:bodyPr/>
        <a:lstStyle/>
        <a:p>
          <a:endParaRPr lang="en-GB"/>
        </a:p>
      </dgm:t>
    </dgm:pt>
    <dgm:pt modelId="{516161D6-7697-404C-B020-CDA88165CCDF}">
      <dgm:prSet phldrT="[Text]" custT="1"/>
      <dgm:spPr/>
      <dgm:t>
        <a:bodyPr/>
        <a:lstStyle/>
        <a:p>
          <a:r>
            <a:rPr lang="en-GB" sz="1400" dirty="0"/>
            <a:t> </a:t>
          </a:r>
          <a:r>
            <a:rPr lang="en-GB" sz="1400" b="1" dirty="0"/>
            <a:t>Process and prepare (vacancy) data </a:t>
          </a:r>
          <a:r>
            <a:rPr lang="en-GB" sz="1400" dirty="0"/>
            <a:t>to create/ train specific models</a:t>
          </a:r>
        </a:p>
      </dgm:t>
    </dgm:pt>
    <dgm:pt modelId="{BA3899A1-37FC-4559-9DCB-66A7FD29F34C}" type="parTrans" cxnId="{7C27E21C-B112-425F-A97A-4FACF2ABF37E}">
      <dgm:prSet/>
      <dgm:spPr/>
      <dgm:t>
        <a:bodyPr/>
        <a:lstStyle/>
        <a:p>
          <a:endParaRPr lang="en-GB"/>
        </a:p>
      </dgm:t>
    </dgm:pt>
    <dgm:pt modelId="{054B979A-5FC9-48AF-A30C-F6C5A2528293}" type="sibTrans" cxnId="{7C27E21C-B112-425F-A97A-4FACF2ABF37E}">
      <dgm:prSet/>
      <dgm:spPr/>
      <dgm:t>
        <a:bodyPr/>
        <a:lstStyle/>
        <a:p>
          <a:endParaRPr lang="en-GB"/>
        </a:p>
      </dgm:t>
    </dgm:pt>
    <dgm:pt modelId="{90C37A44-0629-4880-BA66-8D6C9DC562A4}">
      <dgm:prSet phldrT="[Text]" custT="1"/>
      <dgm:spPr/>
      <dgm:t>
        <a:bodyPr/>
        <a:lstStyle/>
        <a:p>
          <a:r>
            <a:rPr lang="en-GB" sz="1400" b="1"/>
            <a:t> Establish relationships</a:t>
          </a:r>
          <a:r>
            <a:rPr lang="en-GB" sz="1400" b="0"/>
            <a:t> (occupation–skill; skill-skill contextualisation)</a:t>
          </a:r>
          <a:endParaRPr lang="en-GB" sz="1400" b="1" dirty="0"/>
        </a:p>
      </dgm:t>
    </dgm:pt>
    <dgm:pt modelId="{6869D36F-7DDC-4824-9103-16B02BBE17FA}" type="parTrans" cxnId="{325836C9-49A2-432B-9364-786664CE2095}">
      <dgm:prSet/>
      <dgm:spPr/>
      <dgm:t>
        <a:bodyPr/>
        <a:lstStyle/>
        <a:p>
          <a:endParaRPr lang="en-GB"/>
        </a:p>
      </dgm:t>
    </dgm:pt>
    <dgm:pt modelId="{0960D5DB-0D28-4B4D-AFD4-934E113C3CAD}" type="sibTrans" cxnId="{325836C9-49A2-432B-9364-786664CE2095}">
      <dgm:prSet/>
      <dgm:spPr/>
      <dgm:t>
        <a:bodyPr/>
        <a:lstStyle/>
        <a:p>
          <a:endParaRPr lang="en-GB"/>
        </a:p>
      </dgm:t>
    </dgm:pt>
    <dgm:pt modelId="{BC4F0DB7-B389-44BE-83BC-41C01AAAB720}" type="pres">
      <dgm:prSet presAssocID="{48D3ACBC-4BF6-4123-AE57-C66B5768FD19}" presName="rootnode" presStyleCnt="0">
        <dgm:presLayoutVars>
          <dgm:chMax/>
          <dgm:chPref/>
          <dgm:dir/>
          <dgm:animLvl val="lvl"/>
        </dgm:presLayoutVars>
      </dgm:prSet>
      <dgm:spPr/>
    </dgm:pt>
    <dgm:pt modelId="{2A8961E1-2884-4B03-B8C2-4291F3FB860B}" type="pres">
      <dgm:prSet presAssocID="{005DBCE1-3115-4D85-88BC-E3DAF5515F69}" presName="composite" presStyleCnt="0"/>
      <dgm:spPr/>
    </dgm:pt>
    <dgm:pt modelId="{0E3BE752-99C8-49FE-ADDC-F281D0DBEDEE}" type="pres">
      <dgm:prSet presAssocID="{005DBCE1-3115-4D85-88BC-E3DAF5515F69}" presName="bentUpArrow1" presStyleLbl="alignImgPlace1" presStyleIdx="0" presStyleCnt="2" custScaleX="58101" custScaleY="75488" custLinFactNeighborX="12143" custLinFactNeighborY="-6286"/>
      <dgm:spPr/>
    </dgm:pt>
    <dgm:pt modelId="{01F70561-AC63-4187-B37C-7E8D7060BF34}" type="pres">
      <dgm:prSet presAssocID="{005DBCE1-3115-4D85-88BC-E3DAF5515F69}" presName="ParentText" presStyleLbl="node1" presStyleIdx="0" presStyleCnt="3" custScaleX="83179" custScaleY="83476">
        <dgm:presLayoutVars>
          <dgm:chMax val="1"/>
          <dgm:chPref val="1"/>
          <dgm:bulletEnabled val="1"/>
        </dgm:presLayoutVars>
      </dgm:prSet>
      <dgm:spPr/>
    </dgm:pt>
    <dgm:pt modelId="{76C97204-3096-454D-AAEA-E5C4A40AB672}" type="pres">
      <dgm:prSet presAssocID="{005DBCE1-3115-4D85-88BC-E3DAF5515F69}" presName="ChildText" presStyleLbl="revTx" presStyleIdx="0" presStyleCnt="3" custScaleX="273505" custLinFactNeighborX="80230" custLinFactNeighborY="1227">
        <dgm:presLayoutVars>
          <dgm:chMax val="0"/>
          <dgm:chPref val="0"/>
          <dgm:bulletEnabled val="1"/>
        </dgm:presLayoutVars>
      </dgm:prSet>
      <dgm:spPr/>
    </dgm:pt>
    <dgm:pt modelId="{93AF9037-C63F-4481-AD68-F6DF366FCB97}" type="pres">
      <dgm:prSet presAssocID="{8533B66A-197E-4EC3-8B0E-999FCC43E92C}" presName="sibTrans" presStyleCnt="0"/>
      <dgm:spPr/>
    </dgm:pt>
    <dgm:pt modelId="{3164D4C0-2B82-4D4E-B505-47EEA3884FA1}" type="pres">
      <dgm:prSet presAssocID="{3F0AD1B4-5A54-4701-B31D-DFE07F72C4D1}" presName="composite" presStyleCnt="0"/>
      <dgm:spPr/>
    </dgm:pt>
    <dgm:pt modelId="{D49B69F4-0092-4B47-9EAF-29A3E9D5EFE9}" type="pres">
      <dgm:prSet presAssocID="{3F0AD1B4-5A54-4701-B31D-DFE07F72C4D1}" presName="bentUpArrow1" presStyleLbl="alignImgPlace1" presStyleIdx="1" presStyleCnt="2" custScaleX="73822" custScaleY="73707" custLinFactNeighborX="-14529" custLinFactNeighborY="-9693"/>
      <dgm:spPr/>
    </dgm:pt>
    <dgm:pt modelId="{29F9752A-6C81-4679-AEB6-0C822BCDEF8A}" type="pres">
      <dgm:prSet presAssocID="{3F0AD1B4-5A54-4701-B31D-DFE07F72C4D1}" presName="ParentText" presStyleLbl="node1" presStyleIdx="1" presStyleCnt="3" custScaleX="71152" custScaleY="83444" custLinFactNeighborX="-28250" custLinFactNeighborY="-1088">
        <dgm:presLayoutVars>
          <dgm:chMax val="1"/>
          <dgm:chPref val="1"/>
          <dgm:bulletEnabled val="1"/>
        </dgm:presLayoutVars>
      </dgm:prSet>
      <dgm:spPr/>
    </dgm:pt>
    <dgm:pt modelId="{51F65F2B-CFB0-45B9-8FFE-5846BE489CFE}" type="pres">
      <dgm:prSet presAssocID="{3F0AD1B4-5A54-4701-B31D-DFE07F72C4D1}" presName="ChildText" presStyleLbl="revTx" presStyleIdx="1" presStyleCnt="3" custScaleX="259997" custLinFactNeighborX="37271" custLinFactNeighborY="1141">
        <dgm:presLayoutVars>
          <dgm:chMax val="0"/>
          <dgm:chPref val="0"/>
          <dgm:bulletEnabled val="1"/>
        </dgm:presLayoutVars>
      </dgm:prSet>
      <dgm:spPr/>
    </dgm:pt>
    <dgm:pt modelId="{797E4E60-01BC-445A-8EE5-AA073CE7A000}" type="pres">
      <dgm:prSet presAssocID="{D4107021-5507-4984-9B0F-EC66313835E2}" presName="sibTrans" presStyleCnt="0"/>
      <dgm:spPr/>
    </dgm:pt>
    <dgm:pt modelId="{DC6FD6B6-4FC5-4767-AA8F-3618E4946D7F}" type="pres">
      <dgm:prSet presAssocID="{84C80103-4442-4410-A6FA-8723891E79B4}" presName="composite" presStyleCnt="0"/>
      <dgm:spPr/>
    </dgm:pt>
    <dgm:pt modelId="{7E8CC1B3-A0D0-4DC2-B85D-9EA8E5795685}" type="pres">
      <dgm:prSet presAssocID="{84C80103-4442-4410-A6FA-8723891E79B4}" presName="ParentText" presStyleLbl="node1" presStyleIdx="2" presStyleCnt="3" custScaleX="79913" custScaleY="69306" custLinFactNeighborX="-48678" custLinFactNeighborY="-4492">
        <dgm:presLayoutVars>
          <dgm:chMax val="1"/>
          <dgm:chPref val="1"/>
          <dgm:bulletEnabled val="1"/>
        </dgm:presLayoutVars>
      </dgm:prSet>
      <dgm:spPr/>
    </dgm:pt>
    <dgm:pt modelId="{C045D82E-3771-4F5F-BE29-9F9C9C523093}" type="pres">
      <dgm:prSet presAssocID="{84C80103-4442-4410-A6FA-8723891E79B4}" presName="FinalChildText" presStyleLbl="revTx" presStyleIdx="2" presStyleCnt="3" custScaleX="236711" custScaleY="76098" custLinFactNeighborX="-4192" custLinFactNeighborY="-4644">
        <dgm:presLayoutVars>
          <dgm:chMax val="0"/>
          <dgm:chPref val="0"/>
          <dgm:bulletEnabled val="1"/>
        </dgm:presLayoutVars>
      </dgm:prSet>
      <dgm:spPr/>
    </dgm:pt>
  </dgm:ptLst>
  <dgm:cxnLst>
    <dgm:cxn modelId="{0B2D6D06-7561-480B-837C-5F0084CEE2CD}" srcId="{3F0AD1B4-5A54-4701-B31D-DFE07F72C4D1}" destId="{AF5CD8D5-C834-44B8-B713-BDA1F6D7A30B}" srcOrd="0" destOrd="0" parTransId="{E1A60208-8B61-483F-B721-A887B0AB40D8}" sibTransId="{B8B568CE-5380-44BA-BCC9-4B006FF401DB}"/>
    <dgm:cxn modelId="{7C27E21C-B112-425F-A97A-4FACF2ABF37E}" srcId="{005DBCE1-3115-4D85-88BC-E3DAF5515F69}" destId="{516161D6-7697-404C-B020-CDA88165CCDF}" srcOrd="1" destOrd="0" parTransId="{BA3899A1-37FC-4559-9DCB-66A7FD29F34C}" sibTransId="{054B979A-5FC9-48AF-A30C-F6C5A2528293}"/>
    <dgm:cxn modelId="{20FF8526-BA52-4687-A0C5-D8070EEB84AD}" srcId="{84C80103-4442-4410-A6FA-8723891E79B4}" destId="{86044F55-1E11-4FFE-9EF0-6E52E091CBFB}" srcOrd="0" destOrd="0" parTransId="{F4B885D9-D58C-4F40-8EE9-60102FCD1078}" sibTransId="{3BC63ECC-0744-446D-AC4A-852E6158769D}"/>
    <dgm:cxn modelId="{9956072C-84FF-4CBB-BD8F-0470977049E5}" srcId="{3F0AD1B4-5A54-4701-B31D-DFE07F72C4D1}" destId="{8C46B74D-CDC4-4D2D-9E81-A0E80B35D293}" srcOrd="1" destOrd="0" parTransId="{9BA94DD4-6368-42C9-ACE5-8D6D19ECF2E8}" sibTransId="{A5E63F8C-FE06-4DFD-AE61-D0B7995CB75D}"/>
    <dgm:cxn modelId="{2FC72534-D822-4F1D-BD69-E10B2A7155C3}" type="presOf" srcId="{516161D6-7697-404C-B020-CDA88165CCDF}" destId="{76C97204-3096-454D-AAEA-E5C4A40AB672}" srcOrd="0" destOrd="1" presId="urn:microsoft.com/office/officeart/2005/8/layout/StepDownProcess"/>
    <dgm:cxn modelId="{C7D6BD5C-57EB-4A38-8602-A4132AB65140}" srcId="{48D3ACBC-4BF6-4123-AE57-C66B5768FD19}" destId="{3F0AD1B4-5A54-4701-B31D-DFE07F72C4D1}" srcOrd="1" destOrd="0" parTransId="{A4A4D505-9E95-48DC-8FA6-33ECD8C61929}" sibTransId="{D4107021-5507-4984-9B0F-EC66313835E2}"/>
    <dgm:cxn modelId="{C3A3BD41-E6A3-4A15-B460-8ED70B86A747}" type="presOf" srcId="{48D3ACBC-4BF6-4123-AE57-C66B5768FD19}" destId="{BC4F0DB7-B389-44BE-83BC-41C01AAAB720}" srcOrd="0" destOrd="0" presId="urn:microsoft.com/office/officeart/2005/8/layout/StepDownProcess"/>
    <dgm:cxn modelId="{019FCC69-E446-455A-8F6E-5773D426016A}" srcId="{005DBCE1-3115-4D85-88BC-E3DAF5515F69}" destId="{3F2A42AD-D696-442A-AEB5-9831B389D96D}" srcOrd="0" destOrd="0" parTransId="{BC79D972-EFA9-4A89-8CE6-79E1878F664B}" sibTransId="{75426987-4F2B-4488-9296-DC03F0C9B752}"/>
    <dgm:cxn modelId="{C3C6EA4C-4786-4315-8808-B8ECC7D6FADE}" type="presOf" srcId="{3F2A42AD-D696-442A-AEB5-9831B389D96D}" destId="{76C97204-3096-454D-AAEA-E5C4A40AB672}" srcOrd="0" destOrd="0" presId="urn:microsoft.com/office/officeart/2005/8/layout/StepDownProcess"/>
    <dgm:cxn modelId="{98E8EA6D-D28B-402A-91B3-3C77E2CE086F}" type="presOf" srcId="{BB70EB00-4B6F-4F32-8E12-44995762FADC}" destId="{C045D82E-3771-4F5F-BE29-9F9C9C523093}" srcOrd="0" destOrd="2" presId="urn:microsoft.com/office/officeart/2005/8/layout/StepDownProcess"/>
    <dgm:cxn modelId="{77E6D250-238E-46DC-A82C-3F95ED1F03B2}" type="presOf" srcId="{FBA4BBCE-69BF-4568-A41A-4019F3982F50}" destId="{C045D82E-3771-4F5F-BE29-9F9C9C523093}" srcOrd="0" destOrd="1" presId="urn:microsoft.com/office/officeart/2005/8/layout/StepDownProcess"/>
    <dgm:cxn modelId="{A464C051-2A38-4686-B273-F3FEB874F348}" type="presOf" srcId="{90C37A44-0629-4880-BA66-8D6C9DC562A4}" destId="{C045D82E-3771-4F5F-BE29-9F9C9C523093}" srcOrd="0" destOrd="3" presId="urn:microsoft.com/office/officeart/2005/8/layout/StepDownProcess"/>
    <dgm:cxn modelId="{509E8278-2854-4F5A-970D-1ACCE2BA7488}" type="presOf" srcId="{AF5CD8D5-C834-44B8-B713-BDA1F6D7A30B}" destId="{51F65F2B-CFB0-45B9-8FFE-5846BE489CFE}" srcOrd="0" destOrd="0" presId="urn:microsoft.com/office/officeart/2005/8/layout/StepDownProcess"/>
    <dgm:cxn modelId="{1F163F88-BFDA-4921-8F19-E9231E8357A0}" type="presOf" srcId="{8C46B74D-CDC4-4D2D-9E81-A0E80B35D293}" destId="{51F65F2B-CFB0-45B9-8FFE-5846BE489CFE}" srcOrd="0" destOrd="1" presId="urn:microsoft.com/office/officeart/2005/8/layout/StepDownProcess"/>
    <dgm:cxn modelId="{CFCB0F9B-AB42-436D-A3C4-28F25D61D9AC}" type="presOf" srcId="{86044F55-1E11-4FFE-9EF0-6E52E091CBFB}" destId="{C045D82E-3771-4F5F-BE29-9F9C9C523093}" srcOrd="0" destOrd="0" presId="urn:microsoft.com/office/officeart/2005/8/layout/StepDownProcess"/>
    <dgm:cxn modelId="{D9602FB6-9997-4F40-8381-2E2F7A537680}" srcId="{84C80103-4442-4410-A6FA-8723891E79B4}" destId="{BB70EB00-4B6F-4F32-8E12-44995762FADC}" srcOrd="2" destOrd="0" parTransId="{9A58AE93-0775-4BB0-805C-51F731BA7950}" sibTransId="{F44AA427-5428-4FF4-93B1-A80B9B7E529E}"/>
    <dgm:cxn modelId="{81777DC0-8845-41AF-A824-A3DC52FC9D7F}" type="presOf" srcId="{3F0AD1B4-5A54-4701-B31D-DFE07F72C4D1}" destId="{29F9752A-6C81-4679-AEB6-0C822BCDEF8A}" srcOrd="0" destOrd="0" presId="urn:microsoft.com/office/officeart/2005/8/layout/StepDownProcess"/>
    <dgm:cxn modelId="{325836C9-49A2-432B-9364-786664CE2095}" srcId="{84C80103-4442-4410-A6FA-8723891E79B4}" destId="{90C37A44-0629-4880-BA66-8D6C9DC562A4}" srcOrd="3" destOrd="0" parTransId="{6869D36F-7DDC-4824-9103-16B02BBE17FA}" sibTransId="{0960D5DB-0D28-4B4D-AFD4-934E113C3CAD}"/>
    <dgm:cxn modelId="{DCE4D3D4-FEB0-40F7-AE09-4F42C28097F8}" srcId="{84C80103-4442-4410-A6FA-8723891E79B4}" destId="{FBA4BBCE-69BF-4568-A41A-4019F3982F50}" srcOrd="1" destOrd="0" parTransId="{9F65BEE2-CFDB-489E-8411-580908EEEC85}" sibTransId="{5EEB55E5-D4D3-4F53-ADBE-E68CBAA46716}"/>
    <dgm:cxn modelId="{725C9FE2-4603-4351-B891-9715B4A2FA38}" srcId="{48D3ACBC-4BF6-4123-AE57-C66B5768FD19}" destId="{005DBCE1-3115-4D85-88BC-E3DAF5515F69}" srcOrd="0" destOrd="0" parTransId="{394D9166-C1D1-43AA-89D4-6087A8E81398}" sibTransId="{8533B66A-197E-4EC3-8B0E-999FCC43E92C}"/>
    <dgm:cxn modelId="{D42AEEEF-6ED2-4BD2-ABDA-CE33D6192D66}" srcId="{48D3ACBC-4BF6-4123-AE57-C66B5768FD19}" destId="{84C80103-4442-4410-A6FA-8723891E79B4}" srcOrd="2" destOrd="0" parTransId="{40652B9A-D3F0-45BF-902F-6E5053E6F26A}" sibTransId="{ED80D6DD-59BE-4BFE-A130-2A6CCABE1218}"/>
    <dgm:cxn modelId="{2A4BD6F6-44EC-446E-AFC8-1CD7A2DA1860}" type="presOf" srcId="{84C80103-4442-4410-A6FA-8723891E79B4}" destId="{7E8CC1B3-A0D0-4DC2-B85D-9EA8E5795685}" srcOrd="0" destOrd="0" presId="urn:microsoft.com/office/officeart/2005/8/layout/StepDownProcess"/>
    <dgm:cxn modelId="{653C5FFE-9173-4D3C-93A8-B881FDD0FB03}" type="presOf" srcId="{005DBCE1-3115-4D85-88BC-E3DAF5515F69}" destId="{01F70561-AC63-4187-B37C-7E8D7060BF34}" srcOrd="0" destOrd="0" presId="urn:microsoft.com/office/officeart/2005/8/layout/StepDownProcess"/>
    <dgm:cxn modelId="{198704E3-836E-40F1-B34E-F947AF4F3517}" type="presParOf" srcId="{BC4F0DB7-B389-44BE-83BC-41C01AAAB720}" destId="{2A8961E1-2884-4B03-B8C2-4291F3FB860B}" srcOrd="0" destOrd="0" presId="urn:microsoft.com/office/officeart/2005/8/layout/StepDownProcess"/>
    <dgm:cxn modelId="{14F4DC13-CB88-4C66-8F56-DA45C981E877}" type="presParOf" srcId="{2A8961E1-2884-4B03-B8C2-4291F3FB860B}" destId="{0E3BE752-99C8-49FE-ADDC-F281D0DBEDEE}" srcOrd="0" destOrd="0" presId="urn:microsoft.com/office/officeart/2005/8/layout/StepDownProcess"/>
    <dgm:cxn modelId="{B24EA2FC-9678-4E3B-826F-02AA64E4A804}" type="presParOf" srcId="{2A8961E1-2884-4B03-B8C2-4291F3FB860B}" destId="{01F70561-AC63-4187-B37C-7E8D7060BF34}" srcOrd="1" destOrd="0" presId="urn:microsoft.com/office/officeart/2005/8/layout/StepDownProcess"/>
    <dgm:cxn modelId="{697ABCE0-5E92-4F8F-A58E-41D7EAD01BE1}" type="presParOf" srcId="{2A8961E1-2884-4B03-B8C2-4291F3FB860B}" destId="{76C97204-3096-454D-AAEA-E5C4A40AB672}" srcOrd="2" destOrd="0" presId="urn:microsoft.com/office/officeart/2005/8/layout/StepDownProcess"/>
    <dgm:cxn modelId="{33455974-E582-4D3A-8D00-CAE19D306B70}" type="presParOf" srcId="{BC4F0DB7-B389-44BE-83BC-41C01AAAB720}" destId="{93AF9037-C63F-4481-AD68-F6DF366FCB97}" srcOrd="1" destOrd="0" presId="urn:microsoft.com/office/officeart/2005/8/layout/StepDownProcess"/>
    <dgm:cxn modelId="{BC4DC73A-3639-4259-98D2-6A1A1964A2E0}" type="presParOf" srcId="{BC4F0DB7-B389-44BE-83BC-41C01AAAB720}" destId="{3164D4C0-2B82-4D4E-B505-47EEA3884FA1}" srcOrd="2" destOrd="0" presId="urn:microsoft.com/office/officeart/2005/8/layout/StepDownProcess"/>
    <dgm:cxn modelId="{8A5CCDA1-A52A-4166-AA11-71F74BCF57BC}" type="presParOf" srcId="{3164D4C0-2B82-4D4E-B505-47EEA3884FA1}" destId="{D49B69F4-0092-4B47-9EAF-29A3E9D5EFE9}" srcOrd="0" destOrd="0" presId="urn:microsoft.com/office/officeart/2005/8/layout/StepDownProcess"/>
    <dgm:cxn modelId="{3482492D-BAE4-4123-9A61-85FF33A19B76}" type="presParOf" srcId="{3164D4C0-2B82-4D4E-B505-47EEA3884FA1}" destId="{29F9752A-6C81-4679-AEB6-0C822BCDEF8A}" srcOrd="1" destOrd="0" presId="urn:microsoft.com/office/officeart/2005/8/layout/StepDownProcess"/>
    <dgm:cxn modelId="{27414830-1591-4D48-93F0-360CF33F8D86}" type="presParOf" srcId="{3164D4C0-2B82-4D4E-B505-47EEA3884FA1}" destId="{51F65F2B-CFB0-45B9-8FFE-5846BE489CFE}" srcOrd="2" destOrd="0" presId="urn:microsoft.com/office/officeart/2005/8/layout/StepDownProcess"/>
    <dgm:cxn modelId="{A3E5D5F7-307C-4BB4-B359-15440295BC5C}" type="presParOf" srcId="{BC4F0DB7-B389-44BE-83BC-41C01AAAB720}" destId="{797E4E60-01BC-445A-8EE5-AA073CE7A000}" srcOrd="3" destOrd="0" presId="urn:microsoft.com/office/officeart/2005/8/layout/StepDownProcess"/>
    <dgm:cxn modelId="{067753DC-991E-422F-80E1-4774F9946E81}" type="presParOf" srcId="{BC4F0DB7-B389-44BE-83BC-41C01AAAB720}" destId="{DC6FD6B6-4FC5-4767-AA8F-3618E4946D7F}" srcOrd="4" destOrd="0" presId="urn:microsoft.com/office/officeart/2005/8/layout/StepDownProcess"/>
    <dgm:cxn modelId="{0814A877-0918-4A3F-B951-E08E9619F7F0}" type="presParOf" srcId="{DC6FD6B6-4FC5-4767-AA8F-3618E4946D7F}" destId="{7E8CC1B3-A0D0-4DC2-B85D-9EA8E5795685}" srcOrd="0" destOrd="0" presId="urn:microsoft.com/office/officeart/2005/8/layout/StepDownProcess"/>
    <dgm:cxn modelId="{9BF45272-F8B8-43A6-A777-FE7351AD8E2A}" type="presParOf" srcId="{DC6FD6B6-4FC5-4767-AA8F-3618E4946D7F}" destId="{C045D82E-3771-4F5F-BE29-9F9C9C523093}" srcOrd="1" destOrd="0" presId="urn:microsoft.com/office/officeart/2005/8/layout/StepDownProcess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3B0F50-6F71-4523-84D5-BDE246264008}">
      <dsp:nvSpPr>
        <dsp:cNvPr id="0" name=""/>
        <dsp:cNvSpPr/>
      </dsp:nvSpPr>
      <dsp:spPr>
        <a:xfrm rot="5400000">
          <a:off x="-167340" y="175952"/>
          <a:ext cx="1115600" cy="78092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/>
            <a:t>.</a:t>
          </a:r>
        </a:p>
      </dsp:txBody>
      <dsp:txXfrm rot="-5400000">
        <a:off x="0" y="399072"/>
        <a:ext cx="780920" cy="334680"/>
      </dsp:txXfrm>
    </dsp:sp>
    <dsp:sp modelId="{AA9B0CF4-E48E-433B-9BA1-0D88B42D5FED}">
      <dsp:nvSpPr>
        <dsp:cNvPr id="0" name=""/>
        <dsp:cNvSpPr/>
      </dsp:nvSpPr>
      <dsp:spPr>
        <a:xfrm rot="5400000">
          <a:off x="2789484" y="-1999951"/>
          <a:ext cx="725140" cy="474226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b="1" kern="1200" dirty="0"/>
            <a:t>Report</a:t>
          </a:r>
          <a:r>
            <a:rPr lang="en-GB" sz="1400" kern="1200" dirty="0"/>
            <a:t> expert group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b="1" kern="1200" dirty="0"/>
            <a:t>Feedback</a:t>
          </a:r>
          <a:r>
            <a:rPr lang="en-GB" sz="1400" kern="1200" dirty="0"/>
            <a:t> MSWG, MAI, and EQF AG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kern="1200" dirty="0"/>
            <a:t>ESCO skills quality review</a:t>
          </a:r>
        </a:p>
      </dsp:txBody>
      <dsp:txXfrm rot="-5400000">
        <a:off x="780921" y="44010"/>
        <a:ext cx="4706869" cy="654344"/>
      </dsp:txXfrm>
    </dsp:sp>
    <dsp:sp modelId="{8686DE99-B167-4948-B8D6-524C225A063D}">
      <dsp:nvSpPr>
        <dsp:cNvPr id="0" name=""/>
        <dsp:cNvSpPr/>
      </dsp:nvSpPr>
      <dsp:spPr>
        <a:xfrm rot="5400000">
          <a:off x="-167340" y="1222667"/>
          <a:ext cx="1115600" cy="78092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/>
            <a:t>.</a:t>
          </a:r>
        </a:p>
      </dsp:txBody>
      <dsp:txXfrm rot="-5400000">
        <a:off x="0" y="1445787"/>
        <a:ext cx="780920" cy="334680"/>
      </dsp:txXfrm>
    </dsp:sp>
    <dsp:sp modelId="{5219B642-F554-474E-BFAB-B437D28123DE}">
      <dsp:nvSpPr>
        <dsp:cNvPr id="0" name=""/>
        <dsp:cNvSpPr/>
      </dsp:nvSpPr>
      <dsp:spPr>
        <a:xfrm rot="5400000">
          <a:off x="2713344" y="-953236"/>
          <a:ext cx="877419" cy="474226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kern="1200" dirty="0"/>
            <a:t>Complete identification of transversal skill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kern="1200" dirty="0"/>
            <a:t>Formulate </a:t>
          </a:r>
          <a:r>
            <a:rPr lang="en-GB" sz="1400" b="1" kern="1200" dirty="0"/>
            <a:t>descriptions</a:t>
          </a:r>
          <a:r>
            <a:rPr lang="en-GB" sz="1400" kern="1200" dirty="0"/>
            <a:t> and </a:t>
          </a:r>
          <a:r>
            <a:rPr lang="en-GB" sz="1400" b="1" kern="1200" dirty="0"/>
            <a:t>scope note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b="1" kern="1200" dirty="0"/>
            <a:t>Apply terminological guidelines </a:t>
          </a:r>
          <a:r>
            <a:rPr lang="en-GB" sz="1400" kern="1200" dirty="0"/>
            <a:t>and assign alternative labels</a:t>
          </a:r>
        </a:p>
      </dsp:txBody>
      <dsp:txXfrm rot="-5400000">
        <a:off x="780920" y="1022020"/>
        <a:ext cx="4699435" cy="791755"/>
      </dsp:txXfrm>
    </dsp:sp>
    <dsp:sp modelId="{FBEBF7BB-5518-4F76-A865-311AE7A4FC01}">
      <dsp:nvSpPr>
        <dsp:cNvPr id="0" name=""/>
        <dsp:cNvSpPr/>
      </dsp:nvSpPr>
      <dsp:spPr>
        <a:xfrm rot="5400000">
          <a:off x="-167340" y="2193242"/>
          <a:ext cx="1115600" cy="78092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/>
            <a:t>.</a:t>
          </a:r>
        </a:p>
      </dsp:txBody>
      <dsp:txXfrm rot="-5400000">
        <a:off x="0" y="2416362"/>
        <a:ext cx="780920" cy="334680"/>
      </dsp:txXfrm>
    </dsp:sp>
    <dsp:sp modelId="{A975B9F3-8719-4E59-BA14-95A00F4F8367}">
      <dsp:nvSpPr>
        <dsp:cNvPr id="0" name=""/>
        <dsp:cNvSpPr/>
      </dsp:nvSpPr>
      <dsp:spPr>
        <a:xfrm rot="5400000">
          <a:off x="2789484" y="17338"/>
          <a:ext cx="725140" cy="474226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kern="1200" dirty="0"/>
            <a:t>6 top-level categorie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kern="1200" dirty="0"/>
            <a:t>24 cluster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kern="1200" dirty="0"/>
            <a:t>95 transversal skills</a:t>
          </a:r>
        </a:p>
      </dsp:txBody>
      <dsp:txXfrm rot="-5400000">
        <a:off x="780921" y="2061299"/>
        <a:ext cx="4706869" cy="654344"/>
      </dsp:txXfrm>
    </dsp:sp>
    <dsp:sp modelId="{805E30E2-611F-44EC-84C6-05007EB1E5AF}">
      <dsp:nvSpPr>
        <dsp:cNvPr id="0" name=""/>
        <dsp:cNvSpPr/>
      </dsp:nvSpPr>
      <dsp:spPr>
        <a:xfrm rot="5400000">
          <a:off x="-167340" y="3163817"/>
          <a:ext cx="1115600" cy="78092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/>
            <a:t>.</a:t>
          </a:r>
        </a:p>
      </dsp:txBody>
      <dsp:txXfrm rot="-5400000">
        <a:off x="0" y="3386937"/>
        <a:ext cx="780920" cy="334680"/>
      </dsp:txXfrm>
    </dsp:sp>
    <dsp:sp modelId="{F21E125F-5408-45F5-9B16-1F54E1783215}">
      <dsp:nvSpPr>
        <dsp:cNvPr id="0" name=""/>
        <dsp:cNvSpPr/>
      </dsp:nvSpPr>
      <dsp:spPr>
        <a:xfrm rot="5400000">
          <a:off x="2789484" y="987913"/>
          <a:ext cx="725140" cy="474226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b="1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Verdana"/>
              <a:ea typeface="+mn-ea"/>
              <a:cs typeface="+mn-cs"/>
            </a:rPr>
            <a:t>Integrate</a:t>
          </a:r>
          <a:r>
            <a:rPr lang="en-GB" sz="14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Verdana"/>
              <a:ea typeface="+mn-ea"/>
              <a:cs typeface="+mn-cs"/>
            </a:rPr>
            <a:t> transversal skills in the </a:t>
          </a:r>
          <a:r>
            <a:rPr lang="en-GB" sz="1400" b="1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Verdana"/>
              <a:ea typeface="+mn-ea"/>
              <a:cs typeface="+mn-cs"/>
            </a:rPr>
            <a:t>ESCO skills pillar</a:t>
          </a:r>
        </a:p>
      </dsp:txBody>
      <dsp:txXfrm rot="-5400000">
        <a:off x="780921" y="3031874"/>
        <a:ext cx="4706869" cy="65434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0EB4B7-CF95-42B5-BE34-4484BB0783A4}">
      <dsp:nvSpPr>
        <dsp:cNvPr id="0" name=""/>
        <dsp:cNvSpPr/>
      </dsp:nvSpPr>
      <dsp:spPr>
        <a:xfrm>
          <a:off x="1053" y="751222"/>
          <a:ext cx="2647100" cy="1021780"/>
        </a:xfrm>
        <a:prstGeom prst="chevron">
          <a:avLst>
            <a:gd name="adj" fmla="val 40000"/>
          </a:avLst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1BE73F8-2DF6-44AC-A77E-759CF193139B}">
      <dsp:nvSpPr>
        <dsp:cNvPr id="0" name=""/>
        <dsp:cNvSpPr/>
      </dsp:nvSpPr>
      <dsp:spPr>
        <a:xfrm>
          <a:off x="706947" y="1006667"/>
          <a:ext cx="2235329" cy="102178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Human labelling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100" kern="1200" dirty="0"/>
            <a:t>Manual identification of existing ESCO skills</a:t>
          </a:r>
        </a:p>
      </dsp:txBody>
      <dsp:txXfrm>
        <a:off x="736874" y="1036594"/>
        <a:ext cx="2175475" cy="961926"/>
      </dsp:txXfrm>
    </dsp:sp>
    <dsp:sp modelId="{C7878251-FAE0-4DE8-90B2-C294D8F449DC}">
      <dsp:nvSpPr>
        <dsp:cNvPr id="0" name=""/>
        <dsp:cNvSpPr/>
      </dsp:nvSpPr>
      <dsp:spPr>
        <a:xfrm>
          <a:off x="3024630" y="751222"/>
          <a:ext cx="2647100" cy="1021780"/>
        </a:xfrm>
        <a:prstGeom prst="chevron">
          <a:avLst>
            <a:gd name="adj" fmla="val 40000"/>
          </a:avLst>
        </a:prstGeom>
        <a:solidFill>
          <a:schemeClr val="accent2">
            <a:shade val="80000"/>
            <a:hueOff val="0"/>
            <a:satOff val="-14010"/>
            <a:lumOff val="1587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6445B2-614A-4108-91CB-A7F32E8315F6}">
      <dsp:nvSpPr>
        <dsp:cNvPr id="0" name=""/>
        <dsp:cNvSpPr/>
      </dsp:nvSpPr>
      <dsp:spPr>
        <a:xfrm>
          <a:off x="3730524" y="1006667"/>
          <a:ext cx="2235329" cy="102178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-14010"/>
              <a:lumOff val="1587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Machine labelling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100" kern="1200" dirty="0"/>
            <a:t>Train AI model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100" kern="1200" dirty="0"/>
            <a:t>Identify green skills based on labour market data</a:t>
          </a:r>
        </a:p>
      </dsp:txBody>
      <dsp:txXfrm>
        <a:off x="3760451" y="1036594"/>
        <a:ext cx="2175475" cy="961926"/>
      </dsp:txXfrm>
    </dsp:sp>
    <dsp:sp modelId="{08D17342-F190-4C8F-BDA1-A0A8F8DE2A92}">
      <dsp:nvSpPr>
        <dsp:cNvPr id="0" name=""/>
        <dsp:cNvSpPr/>
      </dsp:nvSpPr>
      <dsp:spPr>
        <a:xfrm>
          <a:off x="6048207" y="751222"/>
          <a:ext cx="2647100" cy="1021780"/>
        </a:xfrm>
        <a:prstGeom prst="chevron">
          <a:avLst>
            <a:gd name="adj" fmla="val 40000"/>
          </a:avLst>
        </a:prstGeom>
        <a:solidFill>
          <a:schemeClr val="accent2">
            <a:shade val="80000"/>
            <a:hueOff val="0"/>
            <a:satOff val="-28019"/>
            <a:lumOff val="3175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5D8D00-8B88-40B0-90C0-291F8D057BA5}">
      <dsp:nvSpPr>
        <dsp:cNvPr id="0" name=""/>
        <dsp:cNvSpPr/>
      </dsp:nvSpPr>
      <dsp:spPr>
        <a:xfrm>
          <a:off x="6754101" y="1006667"/>
          <a:ext cx="2235329" cy="102178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-28019"/>
              <a:lumOff val="3175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Manual evaluation of differences</a:t>
          </a:r>
        </a:p>
      </dsp:txBody>
      <dsp:txXfrm>
        <a:off x="6784028" y="1036594"/>
        <a:ext cx="2175475" cy="96192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3BE752-99C8-49FE-ADDC-F281D0DBEDEE}">
      <dsp:nvSpPr>
        <dsp:cNvPr id="0" name=""/>
        <dsp:cNvSpPr/>
      </dsp:nvSpPr>
      <dsp:spPr>
        <a:xfrm rot="5400000">
          <a:off x="1070709" y="1924881"/>
          <a:ext cx="1179903" cy="1033884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1F70561-AC63-4187-B37C-7E8D7060BF34}">
      <dsp:nvSpPr>
        <dsp:cNvPr id="0" name=""/>
        <dsp:cNvSpPr/>
      </dsp:nvSpPr>
      <dsp:spPr>
        <a:xfrm>
          <a:off x="470254" y="69857"/>
          <a:ext cx="2188631" cy="1537441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solidFill>
                <a:schemeClr val="tx1"/>
              </a:solidFill>
            </a:rPr>
            <a:t>Receive and structure inputs</a:t>
          </a:r>
        </a:p>
      </dsp:txBody>
      <dsp:txXfrm>
        <a:off x="545319" y="144922"/>
        <a:ext cx="2038501" cy="1387311"/>
      </dsp:txXfrm>
    </dsp:sp>
    <dsp:sp modelId="{76C97204-3096-454D-AAEA-E5C4A40AB672}">
      <dsp:nvSpPr>
        <dsp:cNvPr id="0" name=""/>
        <dsp:cNvSpPr/>
      </dsp:nvSpPr>
      <dsp:spPr>
        <a:xfrm>
          <a:off x="2755363" y="111610"/>
          <a:ext cx="5234083" cy="14886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49B69F4-0092-4B47-9EAF-29A3E9D5EFE9}">
      <dsp:nvSpPr>
        <dsp:cNvPr id="0" name=""/>
        <dsp:cNvSpPr/>
      </dsp:nvSpPr>
      <dsp:spPr>
        <a:xfrm rot="5400000">
          <a:off x="3324017" y="3456648"/>
          <a:ext cx="1152066" cy="1313633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9F9752A-6C81-4679-AEB6-0C822BCDEF8A}">
      <dsp:nvSpPr>
        <dsp:cNvPr id="0" name=""/>
        <dsp:cNvSpPr/>
      </dsp:nvSpPr>
      <dsp:spPr>
        <a:xfrm>
          <a:off x="2599167" y="1775008"/>
          <a:ext cx="1872173" cy="1536851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solidFill>
                <a:schemeClr val="tx1"/>
              </a:solidFill>
            </a:rPr>
            <a:t>Analyse inputs</a:t>
          </a:r>
        </a:p>
      </dsp:txBody>
      <dsp:txXfrm>
        <a:off x="2674203" y="1850044"/>
        <a:ext cx="1722101" cy="1386779"/>
      </dsp:txXfrm>
    </dsp:sp>
    <dsp:sp modelId="{51F65F2B-CFB0-45B9-8FFE-5846BE489CFE}">
      <dsp:nvSpPr>
        <dsp:cNvPr id="0" name=""/>
        <dsp:cNvSpPr/>
      </dsp:nvSpPr>
      <dsp:spPr>
        <a:xfrm>
          <a:off x="4533510" y="1835224"/>
          <a:ext cx="4975579" cy="14886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E8CC1B3-A0D0-4DC2-B85D-9EA8E5795685}">
      <dsp:nvSpPr>
        <dsp:cNvPr id="0" name=""/>
        <dsp:cNvSpPr/>
      </dsp:nvSpPr>
      <dsp:spPr>
        <a:xfrm>
          <a:off x="4933896" y="3423290"/>
          <a:ext cx="2102695" cy="1276461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solidFill>
                <a:schemeClr val="tx1"/>
              </a:solidFill>
            </a:rPr>
            <a:t>Update the classification</a:t>
          </a:r>
        </a:p>
      </dsp:txBody>
      <dsp:txXfrm>
        <a:off x="4996219" y="3485613"/>
        <a:ext cx="1978049" cy="115181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3BE752-99C8-49FE-ADDC-F281D0DBEDEE}">
      <dsp:nvSpPr>
        <dsp:cNvPr id="0" name=""/>
        <dsp:cNvSpPr/>
      </dsp:nvSpPr>
      <dsp:spPr>
        <a:xfrm rot="5400000">
          <a:off x="583436" y="1941973"/>
          <a:ext cx="1141891" cy="1000575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1F70561-AC63-4187-B37C-7E8D7060BF34}">
      <dsp:nvSpPr>
        <dsp:cNvPr id="0" name=""/>
        <dsp:cNvSpPr/>
      </dsp:nvSpPr>
      <dsp:spPr>
        <a:xfrm>
          <a:off x="2325" y="146712"/>
          <a:ext cx="2118121" cy="1487910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>
              <a:solidFill>
                <a:schemeClr val="tx1"/>
              </a:solidFill>
            </a:rPr>
            <a:t>Receive and structure inputs</a:t>
          </a:r>
          <a:endParaRPr lang="en-GB" sz="1800" kern="1200" dirty="0">
            <a:solidFill>
              <a:schemeClr val="tx1"/>
            </a:solidFill>
          </a:endParaRPr>
        </a:p>
      </dsp:txBody>
      <dsp:txXfrm>
        <a:off x="74972" y="219359"/>
        <a:ext cx="1972827" cy="1342616"/>
      </dsp:txXfrm>
    </dsp:sp>
    <dsp:sp modelId="{76C97204-3096-454D-AAEA-E5C4A40AB672}">
      <dsp:nvSpPr>
        <dsp:cNvPr id="0" name=""/>
        <dsp:cNvSpPr/>
      </dsp:nvSpPr>
      <dsp:spPr>
        <a:xfrm>
          <a:off x="2213817" y="187120"/>
          <a:ext cx="5065459" cy="14406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kern="1200" dirty="0"/>
            <a:t> </a:t>
          </a:r>
          <a:r>
            <a:rPr lang="en-GB" sz="1400" b="1" kern="1200" dirty="0"/>
            <a:t>Streamline</a:t>
          </a:r>
          <a:r>
            <a:rPr lang="en-GB" sz="1400" kern="1200" dirty="0"/>
            <a:t> different </a:t>
          </a:r>
          <a:r>
            <a:rPr lang="en-GB" sz="1400" b="1" kern="1200" dirty="0"/>
            <a:t>data format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kern="1200" dirty="0"/>
            <a:t> </a:t>
          </a:r>
          <a:r>
            <a:rPr lang="en-GB" sz="1400" b="1" kern="1200" dirty="0"/>
            <a:t>Process and prepare (vacancy) data </a:t>
          </a:r>
          <a:r>
            <a:rPr lang="en-GB" sz="1400" kern="1200" dirty="0"/>
            <a:t>to create/ train specific models</a:t>
          </a:r>
        </a:p>
      </dsp:txBody>
      <dsp:txXfrm>
        <a:off x="2213817" y="187120"/>
        <a:ext cx="5065459" cy="1440647"/>
      </dsp:txXfrm>
    </dsp:sp>
    <dsp:sp modelId="{D49B69F4-0092-4B47-9EAF-29A3E9D5EFE9}">
      <dsp:nvSpPr>
        <dsp:cNvPr id="0" name=""/>
        <dsp:cNvSpPr/>
      </dsp:nvSpPr>
      <dsp:spPr>
        <a:xfrm rot="5400000">
          <a:off x="2764151" y="3424393"/>
          <a:ext cx="1114950" cy="1271312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9F9752A-6C81-4679-AEB6-0C822BCDEF8A}">
      <dsp:nvSpPr>
        <dsp:cNvPr id="0" name=""/>
        <dsp:cNvSpPr/>
      </dsp:nvSpPr>
      <dsp:spPr>
        <a:xfrm>
          <a:off x="2062653" y="1796929"/>
          <a:ext cx="1811858" cy="1487339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>
              <a:solidFill>
                <a:schemeClr val="tx1"/>
              </a:solidFill>
            </a:rPr>
            <a:t>Analyse inputs</a:t>
          </a:r>
          <a:endParaRPr lang="en-GB" sz="1800" kern="1200" dirty="0">
            <a:solidFill>
              <a:schemeClr val="tx1"/>
            </a:solidFill>
          </a:endParaRPr>
        </a:p>
      </dsp:txBody>
      <dsp:txXfrm>
        <a:off x="2135272" y="1869548"/>
        <a:ext cx="1666620" cy="1342101"/>
      </dsp:txXfrm>
    </dsp:sp>
    <dsp:sp modelId="{51F65F2B-CFB0-45B9-8FFE-5846BE489CFE}">
      <dsp:nvSpPr>
        <dsp:cNvPr id="0" name=""/>
        <dsp:cNvSpPr/>
      </dsp:nvSpPr>
      <dsp:spPr>
        <a:xfrm>
          <a:off x="4169852" y="1855205"/>
          <a:ext cx="4815283" cy="14406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kern="1200"/>
            <a:t> Remove redundant information in the input</a:t>
          </a:r>
          <a:endParaRPr lang="en-GB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kern="1200" dirty="0"/>
            <a:t> Detect what is </a:t>
          </a:r>
          <a:r>
            <a:rPr lang="en-GB" sz="1400" b="1" kern="1200" dirty="0"/>
            <a:t>already included </a:t>
          </a:r>
          <a:r>
            <a:rPr lang="en-GB" sz="1400" kern="1200" dirty="0"/>
            <a:t>in ESCO</a:t>
          </a:r>
        </a:p>
      </dsp:txBody>
      <dsp:txXfrm>
        <a:off x="4169852" y="1855205"/>
        <a:ext cx="4815283" cy="1440647"/>
      </dsp:txXfrm>
    </dsp:sp>
    <dsp:sp modelId="{7E8CC1B3-A0D0-4DC2-B85D-9EA8E5795685}">
      <dsp:nvSpPr>
        <dsp:cNvPr id="0" name=""/>
        <dsp:cNvSpPr/>
      </dsp:nvSpPr>
      <dsp:spPr>
        <a:xfrm>
          <a:off x="4322165" y="3392109"/>
          <a:ext cx="2034953" cy="1235338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>
              <a:solidFill>
                <a:schemeClr val="tx1"/>
              </a:solidFill>
            </a:rPr>
            <a:t>Update the classification</a:t>
          </a:r>
          <a:endParaRPr lang="en-GB" sz="1800" kern="1200" dirty="0">
            <a:solidFill>
              <a:schemeClr val="tx1"/>
            </a:solidFill>
          </a:endParaRPr>
        </a:p>
      </dsp:txBody>
      <dsp:txXfrm>
        <a:off x="4382480" y="3452424"/>
        <a:ext cx="1914323" cy="1114708"/>
      </dsp:txXfrm>
    </dsp:sp>
    <dsp:sp modelId="{C045D82E-3771-4F5F-BE29-9F9C9C523093}">
      <dsp:nvSpPr>
        <dsp:cNvPr id="0" name=""/>
        <dsp:cNvSpPr/>
      </dsp:nvSpPr>
      <dsp:spPr>
        <a:xfrm>
          <a:off x="6508821" y="3473889"/>
          <a:ext cx="4384014" cy="10963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kern="1200" dirty="0"/>
            <a:t> Support </a:t>
          </a:r>
          <a:r>
            <a:rPr lang="en-GB" sz="1400" b="1" kern="1200" dirty="0"/>
            <a:t>terminological development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b="1" kern="1200"/>
            <a:t> Content labelling </a:t>
          </a:r>
          <a:r>
            <a:rPr lang="en-GB" sz="1400" b="0" kern="1200"/>
            <a:t>(e.g. green skills)</a:t>
          </a:r>
          <a:endParaRPr lang="en-GB" sz="1400" b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b="1" kern="1200"/>
            <a:t> Translate alternative labels</a:t>
          </a:r>
          <a:endParaRPr lang="en-GB" sz="1400" b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b="1" kern="1200"/>
            <a:t> Establish relationships</a:t>
          </a:r>
          <a:r>
            <a:rPr lang="en-GB" sz="1400" b="0" kern="1200"/>
            <a:t> (occupation–skill; skill-skill contextualisation)</a:t>
          </a:r>
          <a:endParaRPr lang="en-GB" sz="1400" b="1" kern="1200" dirty="0"/>
        </a:p>
      </dsp:txBody>
      <dsp:txXfrm>
        <a:off x="6508821" y="3473889"/>
        <a:ext cx="4384014" cy="10963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Chevron Accent Process"/>
  <dgm:desc val="Use to show sequential steps in a task, process, or workflow, or to emphasize movement or direction. Works best with minimal Level 1 and Level 2 text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90665" cy="488226"/>
          </a:xfrm>
          <a:prstGeom prst="rect">
            <a:avLst/>
          </a:prstGeom>
        </p:spPr>
        <p:txBody>
          <a:bodyPr vert="horz" lIns="89785" tIns="44892" rIns="89785" bIns="44892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6866" y="0"/>
            <a:ext cx="2890665" cy="488226"/>
          </a:xfrm>
          <a:prstGeom prst="rect">
            <a:avLst/>
          </a:prstGeom>
        </p:spPr>
        <p:txBody>
          <a:bodyPr vert="horz" lIns="89785" tIns="44892" rIns="89785" bIns="44892" rtlCol="0"/>
          <a:lstStyle>
            <a:lvl1pPr algn="r">
              <a:defRPr sz="1200"/>
            </a:lvl1pPr>
          </a:lstStyle>
          <a:p>
            <a:fld id="{B29697DC-654C-4C0A-97AC-30877F4A826B}" type="datetimeFigureOut">
              <a:rPr lang="en-GB" smtClean="0"/>
              <a:t>26/11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265374"/>
            <a:ext cx="2890665" cy="488226"/>
          </a:xfrm>
          <a:prstGeom prst="rect">
            <a:avLst/>
          </a:prstGeom>
        </p:spPr>
        <p:txBody>
          <a:bodyPr vert="horz" lIns="89785" tIns="44892" rIns="89785" bIns="44892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6866" y="9265374"/>
            <a:ext cx="2890665" cy="488226"/>
          </a:xfrm>
          <a:prstGeom prst="rect">
            <a:avLst/>
          </a:prstGeom>
        </p:spPr>
        <p:txBody>
          <a:bodyPr vert="horz" lIns="89785" tIns="44892" rIns="89785" bIns="44892" rtlCol="0" anchor="b"/>
          <a:lstStyle>
            <a:lvl1pPr algn="r">
              <a:defRPr sz="1200"/>
            </a:lvl1pPr>
          </a:lstStyle>
          <a:p>
            <a:fld id="{A1BD6576-C7C6-4BB4-A6BD-F64FBFFEAEA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88918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89374"/>
          </a:xfrm>
          <a:prstGeom prst="rect">
            <a:avLst/>
          </a:prstGeom>
        </p:spPr>
        <p:txBody>
          <a:bodyPr vert="horz" lIns="89785" tIns="44892" rIns="89785" bIns="44892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89374"/>
          </a:xfrm>
          <a:prstGeom prst="rect">
            <a:avLst/>
          </a:prstGeom>
        </p:spPr>
        <p:txBody>
          <a:bodyPr vert="horz" lIns="89785" tIns="44892" rIns="89785" bIns="44892" rtlCol="0"/>
          <a:lstStyle>
            <a:lvl1pPr algn="r">
              <a:defRPr sz="1200"/>
            </a:lvl1pPr>
          </a:lstStyle>
          <a:p>
            <a:fld id="{4DE853A2-6E0B-47CA-8252-FBBF25A7B0BD}" type="datetimeFigureOut">
              <a:rPr lang="en-GB" smtClean="0"/>
              <a:t>26/11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1219200"/>
            <a:ext cx="5853112" cy="32924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785" tIns="44892" rIns="89785" bIns="44892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693920"/>
            <a:ext cx="5335270" cy="3840480"/>
          </a:xfrm>
          <a:prstGeom prst="rect">
            <a:avLst/>
          </a:prstGeom>
        </p:spPr>
        <p:txBody>
          <a:bodyPr vert="horz" lIns="89785" tIns="44892" rIns="89785" bIns="4489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264228"/>
            <a:ext cx="2889938" cy="489373"/>
          </a:xfrm>
          <a:prstGeom prst="rect">
            <a:avLst/>
          </a:prstGeom>
        </p:spPr>
        <p:txBody>
          <a:bodyPr vert="horz" lIns="89785" tIns="44892" rIns="89785" bIns="44892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264228"/>
            <a:ext cx="2889938" cy="489373"/>
          </a:xfrm>
          <a:prstGeom prst="rect">
            <a:avLst/>
          </a:prstGeom>
        </p:spPr>
        <p:txBody>
          <a:bodyPr vert="horz" lIns="89785" tIns="44892" rIns="89785" bIns="44892" rtlCol="0" anchor="b"/>
          <a:lstStyle>
            <a:lvl1pPr algn="r">
              <a:defRPr sz="1200"/>
            </a:lvl1pPr>
          </a:lstStyle>
          <a:p>
            <a:fld id="{17DD922D-2E6D-4341-A124-EEA7A7A518E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7956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48501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12551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cs typeface="Calibri"/>
              </a:rPr>
              <a:t>Expected question: what data was the AI model trained on? -&gt; refer to list in the not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31367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etect what is already included in ESCO: duplicate skills</a:t>
            </a:r>
            <a:endParaRPr lang="en-US" dirty="0"/>
          </a:p>
          <a:p>
            <a:r>
              <a:rPr lang="en-GB" dirty="0"/>
              <a:t>Support terminological development: vacancy job title mapping to detect new </a:t>
            </a:r>
            <a:r>
              <a:rPr lang="en-GB" dirty="0" err="1"/>
              <a:t>npts</a:t>
            </a:r>
            <a:r>
              <a:rPr lang="en-GB" dirty="0"/>
              <a:t> for </a:t>
            </a:r>
            <a:r>
              <a:rPr lang="en-GB" dirty="0" err="1"/>
              <a:t>occs</a:t>
            </a:r>
            <a:endParaRPr lang="en-GB" dirty="0"/>
          </a:p>
          <a:p>
            <a:r>
              <a:rPr lang="en-GB" dirty="0"/>
              <a:t>Translate alternative labels: gender variants, in progress: data-driven statistical approach to detect wrong translations (in the future we can hopefully detect alt labels from vacancies/</a:t>
            </a:r>
            <a:r>
              <a:rPr lang="en-GB" dirty="0" err="1"/>
              <a:t>europass</a:t>
            </a:r>
            <a:r>
              <a:rPr lang="en-GB" dirty="0"/>
              <a:t>/</a:t>
            </a:r>
            <a:r>
              <a:rPr lang="en-GB" dirty="0" err="1"/>
              <a:t>eures</a:t>
            </a:r>
            <a:r>
              <a:rPr lang="en-GB" dirty="0"/>
              <a:t>/... besides translation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37006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56244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b="1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92424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3443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6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6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52117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17" y="1556278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600" y="2636912"/>
            <a:ext cx="10972800" cy="3384476"/>
          </a:xfrm>
          <a:prstGeom prst="rect">
            <a:avLst/>
          </a:prstGeom>
        </p:spPr>
        <p:txBody>
          <a:bodyPr/>
          <a:lstStyle>
            <a:lvl1pPr marL="0" indent="-342900">
              <a:buClr>
                <a:srgbClr val="00AEF0"/>
              </a:buClr>
              <a:buSzPct val="120000"/>
              <a:buFont typeface="Arial" pitchFamily="34" charset="0"/>
              <a:buChar char="•"/>
              <a:defRPr lang="en-US" sz="1900" i="0" dirty="0" smtClean="0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buClr>
                <a:srgbClr val="00AEF0"/>
              </a:buClr>
              <a:buFont typeface="Courier New"/>
              <a:buChar char="o"/>
              <a:tabLst>
                <a:tab pos="7623175" algn="l"/>
              </a:tabLst>
              <a:defRPr/>
            </a:lvl2pPr>
            <a:lvl3pPr>
              <a:buFontTx/>
              <a:buChar char="-"/>
              <a:defRPr/>
            </a:lvl3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2"/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2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 anchor="b"/>
          <a:lstStyle>
            <a:lvl1pPr>
              <a:defRPr sz="900" b="0" i="1"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28991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392" y="1268761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 algn="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624417" y="2276479"/>
            <a:ext cx="5376333" cy="3673475"/>
          </a:xfrm>
          <a:prstGeom prst="rect">
            <a:avLst/>
          </a:prstGeom>
        </p:spPr>
        <p:txBody>
          <a:bodyPr/>
          <a:lstStyle>
            <a:lvl1pPr>
              <a:defRPr lang="fr-FR" sz="1900" i="0" dirty="0" smtClean="0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4" name="Espace réservé du texte 12"/>
          <p:cNvSpPr>
            <a:spLocks noGrp="1"/>
          </p:cNvSpPr>
          <p:nvPr>
            <p:ph type="body" sz="quarter" idx="15"/>
          </p:nvPr>
        </p:nvSpPr>
        <p:spPr>
          <a:xfrm>
            <a:off x="6192012" y="2276873"/>
            <a:ext cx="5376333" cy="3673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83816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27788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2492896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2" y="2492896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 algn="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20" name="Espace réservé du texte 19"/>
          <p:cNvSpPr>
            <a:spLocks noGrp="1"/>
          </p:cNvSpPr>
          <p:nvPr>
            <p:ph type="body" sz="quarter" idx="15"/>
          </p:nvPr>
        </p:nvSpPr>
        <p:spPr>
          <a:xfrm>
            <a:off x="624417" y="3213100"/>
            <a:ext cx="5376333" cy="2736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1" name="Espace réservé du texte 19"/>
          <p:cNvSpPr>
            <a:spLocks noGrp="1"/>
          </p:cNvSpPr>
          <p:nvPr>
            <p:ph type="body" sz="quarter" idx="16"/>
          </p:nvPr>
        </p:nvSpPr>
        <p:spPr>
          <a:xfrm>
            <a:off x="6192012" y="3212976"/>
            <a:ext cx="5376333" cy="2736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2074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17" y="1268239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3" name="Espace réservé du graphique 12"/>
          <p:cNvSpPr>
            <a:spLocks noGrp="1"/>
          </p:cNvSpPr>
          <p:nvPr>
            <p:ph type="chart" sz="quarter" idx="13"/>
          </p:nvPr>
        </p:nvSpPr>
        <p:spPr>
          <a:xfrm>
            <a:off x="624422" y="2276873"/>
            <a:ext cx="10943167" cy="3600053"/>
          </a:xfrm>
          <a:prstGeom prst="rect">
            <a:avLst/>
          </a:prstGeom>
        </p:spPr>
        <p:txBody>
          <a:bodyPr/>
          <a:lstStyle>
            <a:lvl1pPr marL="342900" indent="-342900">
              <a:defRPr lang="fr-FR" sz="1900" i="0" dirty="0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EF0"/>
              </a:buClr>
              <a:buChar char="•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273603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24417" y="1268239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4" name="Espace réservé du tableau 13"/>
          <p:cNvSpPr>
            <a:spLocks noGrp="1"/>
          </p:cNvSpPr>
          <p:nvPr>
            <p:ph type="tbl" sz="quarter" idx="13"/>
          </p:nvPr>
        </p:nvSpPr>
        <p:spPr>
          <a:xfrm>
            <a:off x="624422" y="2276872"/>
            <a:ext cx="10943167" cy="3673078"/>
          </a:xfrm>
          <a:prstGeom prst="rect">
            <a:avLst/>
          </a:prstGeom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657953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1052736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2204865"/>
            <a:ext cx="4011084" cy="38884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 algn="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5" name="Espace réservé du contenu 14"/>
          <p:cNvSpPr>
            <a:spLocks noGrp="1"/>
          </p:cNvSpPr>
          <p:nvPr>
            <p:ph sz="quarter" idx="13"/>
          </p:nvPr>
        </p:nvSpPr>
        <p:spPr>
          <a:xfrm>
            <a:off x="4656667" y="2205041"/>
            <a:ext cx="7008284" cy="38877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70735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 Solid Blue">
    <p:bg>
      <p:bgPr>
        <a:solidFill>
          <a:srgbClr val="3F85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531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6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42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3" y="5362269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 dirty="0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8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718136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2_Title Solid Blue">
    <p:bg>
      <p:bgPr>
        <a:blipFill dpi="0" rotWithShape="1">
          <a:blip r:embed="rId2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531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6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42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3" y="5362269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 dirty="0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8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165386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b="1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11169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8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5" name="Shape 175"/>
          <p:cNvSpPr>
            <a:spLocks noGrp="1"/>
          </p:cNvSpPr>
          <p:nvPr>
            <p:ph type="body" idx="1"/>
          </p:nvPr>
        </p:nvSpPr>
        <p:spPr>
          <a:xfrm>
            <a:off x="416721" y="2035969"/>
            <a:ext cx="11358563" cy="4018359"/>
          </a:xfrm>
          <a:prstGeom prst="rect">
            <a:avLst/>
          </a:prstGeom>
        </p:spPr>
        <p:txBody>
          <a:bodyPr anchor="t"/>
          <a:lstStyle>
            <a:lvl1pPr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250022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500045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750067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1000089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13340351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s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717008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71591687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3" name="Table 2"/>
          <p:cNvGraphicFramePr>
            <a:graphicFrameLocks noGrp="1"/>
          </p:cNvGraphicFramePr>
          <p:nvPr userDrawn="1"/>
        </p:nvGraphicFramePr>
        <p:xfrm>
          <a:off x="425373" y="2061974"/>
          <a:ext cx="11341266" cy="394919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8902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 dirty="0">
                          <a:solidFill>
                            <a:schemeClr val="bg1"/>
                          </a:solidFill>
                          <a:latin typeface="EC Square Sans Pro" panose="020B0506040000020004" pitchFamily="34" charset="0"/>
                        </a:rPr>
                        <a:t>Column</a:t>
                      </a:r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 dirty="0">
                          <a:latin typeface="EC Square Sans Pro" panose="020B0506040000020004" pitchFamily="34" charset="0"/>
                        </a:rPr>
                        <a:t>Row</a:t>
                      </a:r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7729438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Chart 1"/>
          <p:cNvGraphicFramePr/>
          <p:nvPr userDrawn="1"/>
        </p:nvGraphicFramePr>
        <p:xfrm>
          <a:off x="425376" y="2061975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5613787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Chart 1"/>
          <p:cNvGraphicFramePr/>
          <p:nvPr userDrawn="1"/>
        </p:nvGraphicFramePr>
        <p:xfrm>
          <a:off x="425376" y="2061975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658482937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1125538"/>
            <a:ext cx="12192000" cy="5732462"/>
          </a:xfrm>
          <a:prstGeom prst="rect">
            <a:avLst/>
          </a:prstGeom>
          <a:solidFill>
            <a:srgbClr val="0F5494"/>
          </a:solidFill>
          <a:ln w="73025" algn="ctr">
            <a:solidFill>
              <a:srgbClr val="0F549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6" descr="LOGO CE-EN-quadri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08015" y="309600"/>
            <a:ext cx="2112433" cy="1100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 userDrawn="1"/>
        </p:nvSpPr>
        <p:spPr>
          <a:xfrm>
            <a:off x="5640003" y="6669360"/>
            <a:ext cx="912284" cy="215900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19936" y="1700808"/>
            <a:ext cx="6048672" cy="2016224"/>
          </a:xfrm>
        </p:spPr>
        <p:txBody>
          <a:bodyPr/>
          <a:lstStyle>
            <a:lvl1pPr indent="0">
              <a:defRPr sz="4800">
                <a:solidFill>
                  <a:srgbClr val="FFD624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3393" y="3933056"/>
            <a:ext cx="4992555" cy="1872208"/>
          </a:xfrm>
        </p:spPr>
        <p:txBody>
          <a:bodyPr/>
          <a:lstStyle>
            <a:lvl1pPr marL="0" indent="0">
              <a:buNone/>
              <a:defRPr sz="3000" b="1" i="0">
                <a:solidFill>
                  <a:schemeClr val="bg1"/>
                </a:solidFill>
              </a:defRPr>
            </a:lvl1pPr>
            <a:lvl3pPr marL="228600" indent="-228600" algn="l">
              <a:defRPr sz="3000" b="1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BB59E6E-B967-488E-B209-8B7FA0D7AF9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9813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7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69369" y="6145213"/>
            <a:ext cx="2990849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17" y="980748"/>
            <a:ext cx="10972800" cy="9366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769351" y="116632"/>
            <a:ext cx="2844800" cy="476250"/>
          </a:xfr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337126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23392" y="6297439"/>
            <a:ext cx="2844800" cy="476250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fld id="{37EC8A20-BA03-4FF7-8742-03D8AD4CA4F4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09600" y="2276872"/>
            <a:ext cx="10972800" cy="3633788"/>
          </a:xfrm>
        </p:spPr>
        <p:txBody>
          <a:bodyPr/>
          <a:lstStyle>
            <a:lvl1pPr marL="342900" indent="-342900">
              <a:buClr>
                <a:srgbClr val="0F5494"/>
              </a:buClr>
              <a:buFont typeface="Arial" pitchFamily="34" charset="0"/>
              <a:buChar char="•"/>
              <a:defRPr/>
            </a:lvl1pPr>
            <a:lvl2pPr>
              <a:buClr>
                <a:srgbClr val="0F5494"/>
              </a:buClr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216906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27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E88F9B-71EE-4D5C-B44E-012EF44E925A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0058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387600"/>
            <a:ext cx="5384800" cy="3633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2387600"/>
            <a:ext cx="5384800" cy="3633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6CDD1B-50E0-44E8-82B7-F85F69F6D40C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5318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85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85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E8177A-0CE3-43B6-B11B-ED2E8AEAD8D3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5723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8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21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3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20241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855DDF-6655-40F2-8D9E-CA15739A7ECF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3094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EBFC62-E3CF-4012-8A8B-ABF1C18EA022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9063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66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8800BF-55FD-4017-8F82-94A8DE4F5750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3398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747253-C9BC-4251-8AE3-8910CE9253F2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5761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E98375-5C84-4176-84A5-B6A3E0825F02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2043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51900" y="1123950"/>
            <a:ext cx="2745317" cy="48974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3" y="1123950"/>
            <a:ext cx="8039100" cy="48974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7C7773-6390-40B5-8F3A-46FD9E5B7090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2228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/>
        </p:nvSpPr>
        <p:spPr>
          <a:xfrm>
            <a:off x="335359" y="6265894"/>
            <a:ext cx="480055" cy="297454"/>
          </a:xfrm>
          <a:prstGeom prst="rect">
            <a:avLst/>
          </a:prstGeom>
          <a:solidFill>
            <a:srgbClr val="FFFFFF"/>
          </a:solidFill>
          <a:ln>
            <a:solidFill>
              <a:srgbClr val="6D96C8"/>
            </a:solidFill>
          </a:ln>
        </p:spPr>
        <p:txBody>
          <a:bodyPr wrap="square" rtlCol="0">
            <a:spAutoFit/>
          </a:bodyPr>
          <a:lstStyle/>
          <a:p>
            <a:fld id="{0B3E6A1F-0E70-4F96-A2E5-8C87C994B9E3}" type="slidenum">
              <a:rPr lang="en-GB" sz="1333" b="1" smtClean="0">
                <a:solidFill>
                  <a:srgbClr val="0B8CC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1333" b="1" dirty="0">
              <a:solidFill>
                <a:srgbClr val="0B8CC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5" y="6089292"/>
            <a:ext cx="1924345" cy="504897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2446397" cy="749059"/>
          </a:xfrm>
          <a:prstGeom prst="rect">
            <a:avLst/>
          </a:prstGeom>
          <a:solidFill>
            <a:srgbClr val="F6A7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30" name="Rectangle 29"/>
          <p:cNvSpPr/>
          <p:nvPr userDrawn="1"/>
        </p:nvSpPr>
        <p:spPr>
          <a:xfrm>
            <a:off x="2543605" y="0"/>
            <a:ext cx="9648395" cy="749059"/>
          </a:xfrm>
          <a:prstGeom prst="rect">
            <a:avLst/>
          </a:prstGeom>
          <a:solidFill>
            <a:srgbClr val="0B8C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2651595" y="189863"/>
            <a:ext cx="40365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600" b="0" dirty="0">
                <a:solidFill>
                  <a:schemeClr val="bg1"/>
                </a:solidFill>
                <a:latin typeface="EC Square Sans Pro Medium" panose="020B0500000000020004" pitchFamily="34" charset="0"/>
                <a:cs typeface="Arial" panose="020B0604020202020204" pitchFamily="34" charset="0"/>
              </a:rPr>
              <a:t>EUROPEAN </a:t>
            </a:r>
            <a:r>
              <a:rPr lang="en-GB" sz="1600" b="1" dirty="0">
                <a:solidFill>
                  <a:srgbClr val="075980"/>
                </a:solidFill>
                <a:latin typeface="EC Square Sans Pro Medium" panose="020B0500000000020004" pitchFamily="34" charset="0"/>
                <a:cs typeface="Arial" panose="020B0604020202020204" pitchFamily="34" charset="0"/>
              </a:rPr>
              <a:t>QUALIFICATIONS</a:t>
            </a:r>
            <a:r>
              <a:rPr lang="en-GB" sz="1600" b="0" baseline="0" dirty="0">
                <a:solidFill>
                  <a:schemeClr val="bg1"/>
                </a:solidFill>
                <a:latin typeface="EC Square Sans Pro Medium" panose="020B0500000000020004" pitchFamily="34" charset="0"/>
                <a:cs typeface="Arial" panose="020B0604020202020204" pitchFamily="34" charset="0"/>
              </a:rPr>
              <a:t> FRAMEWORK</a:t>
            </a:r>
            <a:endParaRPr lang="en-GB" sz="1600" b="0" dirty="0">
              <a:solidFill>
                <a:schemeClr val="bg1"/>
              </a:solidFill>
              <a:latin typeface="EC Square Sans Pro Medium" panose="020B05000000000200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34"/>
          <p:cNvPicPr>
            <a:picLocks noChangeAspect="1"/>
          </p:cNvPicPr>
          <p:nvPr userDrawn="1"/>
        </p:nvPicPr>
        <p:blipFill rotWithShape="1">
          <a:blip r:embed="rId3"/>
          <a:srcRect r="20419" b="21037"/>
          <a:stretch/>
        </p:blipFill>
        <p:spPr>
          <a:xfrm>
            <a:off x="5966091" y="3813043"/>
            <a:ext cx="6225911" cy="3044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0754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 Solid Blue">
    <p:bg>
      <p:bgPr>
        <a:solidFill>
          <a:srgbClr val="3F85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531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6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42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3" y="5362269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 dirty="0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8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376997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2_Title Solid Blue">
    <p:bg>
      <p:bgPr>
        <a:blipFill dpi="0" rotWithShape="1">
          <a:blip r:embed="rId2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531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6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42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3" y="5362269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 dirty="0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8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891977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8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5" name="Shape 175"/>
          <p:cNvSpPr>
            <a:spLocks noGrp="1"/>
          </p:cNvSpPr>
          <p:nvPr>
            <p:ph type="body" idx="1"/>
          </p:nvPr>
        </p:nvSpPr>
        <p:spPr>
          <a:xfrm>
            <a:off x="416721" y="2035969"/>
            <a:ext cx="11358563" cy="4018359"/>
          </a:xfrm>
          <a:prstGeom prst="rect">
            <a:avLst/>
          </a:prstGeom>
        </p:spPr>
        <p:txBody>
          <a:bodyPr anchor="t"/>
          <a:lstStyle>
            <a:lvl1pPr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250022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500045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750067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1000089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 dirty="0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52820169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79108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s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3601161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22589429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 dirty="0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3" name="Table 2"/>
          <p:cNvGraphicFramePr>
            <a:graphicFrameLocks noGrp="1"/>
          </p:cNvGraphicFramePr>
          <p:nvPr userDrawn="1"/>
        </p:nvGraphicFramePr>
        <p:xfrm>
          <a:off x="425373" y="2061974"/>
          <a:ext cx="11341266" cy="394919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8902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 dirty="0">
                          <a:solidFill>
                            <a:schemeClr val="bg1"/>
                          </a:solidFill>
                          <a:latin typeface="EC Square Sans Pro" panose="020B0506040000020004" pitchFamily="34" charset="0"/>
                        </a:rPr>
                        <a:t>Column</a:t>
                      </a:r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 dirty="0">
                          <a:latin typeface="EC Square Sans Pro" panose="020B0506040000020004" pitchFamily="34" charset="0"/>
                        </a:rPr>
                        <a:t>Row</a:t>
                      </a:r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2986973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 dirty="0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Chart 1"/>
          <p:cNvGraphicFramePr/>
          <p:nvPr userDrawn="1"/>
        </p:nvGraphicFramePr>
        <p:xfrm>
          <a:off x="425376" y="2061975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04586337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 dirty="0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Chart 1"/>
          <p:cNvGraphicFramePr/>
          <p:nvPr userDrawn="1"/>
        </p:nvGraphicFramePr>
        <p:xfrm>
          <a:off x="425376" y="2061975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34370448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3" y="981075"/>
            <a:ext cx="12240684" cy="5876925"/>
          </a:xfrm>
          <a:prstGeom prst="rect">
            <a:avLst/>
          </a:prstGeom>
          <a:solidFill>
            <a:srgbClr val="0F5494"/>
          </a:solidFill>
          <a:ln w="25400" algn="ctr">
            <a:solidFill>
              <a:srgbClr val="0F549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 defTabSz="342900">
              <a:defRPr/>
            </a:pPr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3086" name="Picture 6" descr="LOGO CE-EN-quadri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6852" y="258765"/>
            <a:ext cx="1915583" cy="99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5327651" y="2565417"/>
            <a:ext cx="6720416" cy="790575"/>
          </a:xfrm>
        </p:spPr>
        <p:txBody>
          <a:bodyPr/>
          <a:lstStyle>
            <a:lvl1pPr marL="2381">
              <a:defRPr sz="5700">
                <a:solidFill>
                  <a:srgbClr val="FFD624"/>
                </a:solidFill>
              </a:defRPr>
            </a:lvl1pPr>
          </a:lstStyle>
          <a:p>
            <a:pPr lvl="0"/>
            <a:r>
              <a:rPr lang="en-US" altLang="en-US" noProof="0"/>
              <a:t>Click to edit Master title style</a:t>
            </a:r>
            <a:endParaRPr lang="en-GB" altLang="en-US" noProof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814917" y="3716346"/>
            <a:ext cx="11377083" cy="1728787"/>
          </a:xfrm>
        </p:spPr>
        <p:txBody>
          <a:bodyPr/>
          <a:lstStyle>
            <a:lvl1pPr marL="0" indent="0">
              <a:buFontTx/>
              <a:buNone/>
              <a:defRPr sz="225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/>
              <a:t>Click to edit Master subtitle style</a:t>
            </a:r>
            <a:endParaRPr lang="en-GB" altLang="en-US" noProof="0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 sz="9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3080" name="Rectangle 8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8F9A51F9-FA55-44CF-B7B8-F7626328B423}" type="slidenum">
              <a:rPr lang="en-GB" altLang="en-US">
                <a:solidFill>
                  <a:srgbClr val="FFFFFF"/>
                </a:solidFill>
              </a:rPr>
              <a:pPr/>
              <a:t>‹#›</a:t>
            </a:fld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5689600" y="6659563"/>
            <a:ext cx="814917" cy="215900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900">
              <a:defRPr/>
            </a:pPr>
            <a:endParaRPr lang="en-US" sz="135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3541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A18A7CB-BD13-4EA4-B19B-0781EAB6B5E6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2149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17"/>
            <a:ext cx="103632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993D4F9-9BEF-481B-A925-9144B459F928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391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492378"/>
            <a:ext cx="5384800" cy="352901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2492378"/>
            <a:ext cx="5384800" cy="352901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775D825-BB6F-4174-8FCE-D6DB0C78EF5F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0771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8" y="1535113"/>
            <a:ext cx="5389033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8" y="2174875"/>
            <a:ext cx="5389033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78A901D-A361-40EB-B8C1-53283DE92842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8827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319746A-644F-4F84-A665-06BD1B70ACBE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8045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3" indent="0">
              <a:buNone/>
              <a:defRPr sz="1800" b="1"/>
            </a:lvl3pPr>
            <a:lvl4pPr marL="1371530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3" indent="0">
              <a:buNone/>
              <a:defRPr sz="1600" b="1"/>
            </a:lvl6pPr>
            <a:lvl7pPr marL="2743060" indent="0">
              <a:buNone/>
              <a:defRPr sz="1600" b="1"/>
            </a:lvl7pPr>
            <a:lvl8pPr marL="3200236" indent="0">
              <a:buNone/>
              <a:defRPr sz="1600" b="1"/>
            </a:lvl8pPr>
            <a:lvl9pPr marL="3657413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3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3" indent="0">
              <a:buNone/>
              <a:defRPr sz="1800" b="1"/>
            </a:lvl3pPr>
            <a:lvl4pPr marL="1371530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3" indent="0">
              <a:buNone/>
              <a:defRPr sz="1600" b="1"/>
            </a:lvl6pPr>
            <a:lvl7pPr marL="2743060" indent="0">
              <a:buNone/>
              <a:defRPr sz="1600" b="1"/>
            </a:lvl7pPr>
            <a:lvl8pPr marL="3200236" indent="0">
              <a:buNone/>
              <a:defRPr sz="1600" b="1"/>
            </a:lvl8pPr>
            <a:lvl9pPr marL="3657413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3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3378709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55AD9F1-7BE1-4DA4-90B2-8E40709E572E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36714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F02FBF8-7FC7-4D90-BBA4-A65A5748D5F1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08382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E2D6826-EF4B-4A56-A7C8-A2F07B6973D6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24725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5E6AA9-84DA-4FDD-9300-F1DBC43F9B85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13133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20162" y="1339850"/>
            <a:ext cx="2762249" cy="46815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7051" y="1339850"/>
            <a:ext cx="8089900" cy="46815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0C478ED-5D56-4BA9-AE34-3E82A9D13E61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3085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69993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04778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8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7" indent="0">
              <a:buNone/>
              <a:defRPr sz="1200"/>
            </a:lvl2pPr>
            <a:lvl3pPr marL="914353" indent="0">
              <a:buNone/>
              <a:defRPr sz="1000"/>
            </a:lvl3pPr>
            <a:lvl4pPr marL="1371530" indent="0">
              <a:buNone/>
              <a:defRPr sz="900"/>
            </a:lvl4pPr>
            <a:lvl5pPr marL="1828706" indent="0">
              <a:buNone/>
              <a:defRPr sz="900"/>
            </a:lvl5pPr>
            <a:lvl6pPr marL="2285883" indent="0">
              <a:buNone/>
              <a:defRPr sz="900"/>
            </a:lvl6pPr>
            <a:lvl7pPr marL="2743060" indent="0">
              <a:buNone/>
              <a:defRPr sz="900"/>
            </a:lvl7pPr>
            <a:lvl8pPr marL="3200236" indent="0">
              <a:buNone/>
              <a:defRPr sz="900"/>
            </a:lvl8pPr>
            <a:lvl9pPr marL="3657413" indent="0">
              <a:buNone/>
              <a:defRPr sz="9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84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77" indent="0">
              <a:buNone/>
              <a:defRPr sz="2800"/>
            </a:lvl2pPr>
            <a:lvl3pPr marL="914353" indent="0">
              <a:buNone/>
              <a:defRPr sz="2400"/>
            </a:lvl3pPr>
            <a:lvl4pPr marL="1371530" indent="0">
              <a:buNone/>
              <a:defRPr sz="2000"/>
            </a:lvl4pPr>
            <a:lvl5pPr marL="1828706" indent="0">
              <a:buNone/>
              <a:defRPr sz="2000"/>
            </a:lvl5pPr>
            <a:lvl6pPr marL="2285883" indent="0">
              <a:buNone/>
              <a:defRPr sz="2000"/>
            </a:lvl6pPr>
            <a:lvl7pPr marL="2743060" indent="0">
              <a:buNone/>
              <a:defRPr sz="2000"/>
            </a:lvl7pPr>
            <a:lvl8pPr marL="3200236" indent="0">
              <a:buNone/>
              <a:defRPr sz="2000"/>
            </a:lvl8pPr>
            <a:lvl9pPr marL="3657413" indent="0">
              <a:buNone/>
              <a:defRPr sz="2000"/>
            </a:lvl9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7" indent="0">
              <a:buNone/>
              <a:defRPr sz="1200"/>
            </a:lvl2pPr>
            <a:lvl3pPr marL="914353" indent="0">
              <a:buNone/>
              <a:defRPr sz="1000"/>
            </a:lvl3pPr>
            <a:lvl4pPr marL="1371530" indent="0">
              <a:buNone/>
              <a:defRPr sz="900"/>
            </a:lvl4pPr>
            <a:lvl5pPr marL="1828706" indent="0">
              <a:buNone/>
              <a:defRPr sz="900"/>
            </a:lvl5pPr>
            <a:lvl6pPr marL="2285883" indent="0">
              <a:buNone/>
              <a:defRPr sz="900"/>
            </a:lvl6pPr>
            <a:lvl7pPr marL="2743060" indent="0">
              <a:buNone/>
              <a:defRPr sz="900"/>
            </a:lvl7pPr>
            <a:lvl8pPr marL="3200236" indent="0">
              <a:buNone/>
              <a:defRPr sz="900"/>
            </a:lvl8pPr>
            <a:lvl9pPr marL="3657413" indent="0">
              <a:buNone/>
              <a:defRPr sz="9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65083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41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40.xml"/><Relationship Id="rId9" Type="http://schemas.openxmlformats.org/officeDocument/2006/relationships/tags" Target="../tags/tag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image" Target="../media/image15.png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17"/>
            <a:ext cx="12192000" cy="683372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-38629"/>
            <a:ext cx="12192000" cy="1130301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77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 b="1" dirty="0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6393" y="311657"/>
            <a:ext cx="2112235" cy="110203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641839" y="6639966"/>
            <a:ext cx="901836" cy="227276"/>
          </a:xfrm>
          <a:prstGeom prst="rect">
            <a:avLst/>
          </a:prstGeom>
          <a:solidFill>
            <a:srgbClr val="1021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7" fontAlgn="base">
              <a:spcBef>
                <a:spcPct val="0"/>
              </a:spcBef>
              <a:spcAft>
                <a:spcPct val="0"/>
              </a:spcAft>
            </a:pPr>
            <a:endParaRPr lang="en-GB" sz="1800" b="1" dirty="0">
              <a:solidFill>
                <a:srgbClr val="1021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79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6" r:id="rId13"/>
    <p:sldLayoutId id="2147483687" r:id="rId14"/>
    <p:sldLayoutId id="2147483688" r:id="rId15"/>
    <p:sldLayoutId id="2147483689" r:id="rId16"/>
    <p:sldLayoutId id="2147483690" r:id="rId17"/>
  </p:sldLayoutIdLst>
  <p:hf hdr="0" ftr="0" dt="0"/>
  <p:txStyles>
    <p:titleStyle>
      <a:lvl1pPr algn="ctr" defTabSz="457177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82" indent="-342882" algn="l" defTabSz="457177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12" indent="-285736" algn="l" defTabSz="457177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8" algn="l" defTabSz="457177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18" indent="-228588" algn="l" defTabSz="457177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5" indent="-228588" algn="l" defTabSz="457177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1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8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5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1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3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0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3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0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6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3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accent3">
            <a:lumOff val="4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077294980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0" imgW="270" imgH="270" progId="TCLayout.ActiveDocument.1">
                  <p:embed/>
                </p:oleObj>
              </mc:Choice>
              <mc:Fallback>
                <p:oleObj name="Diapositiva de think-cell" r:id="rId10" imgW="270" imgH="270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watermark.png"/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714377" y="-535781"/>
            <a:ext cx="3738563" cy="366204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416721" y="5357819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/>
          <a:lstStyle/>
          <a:p>
            <a:r>
              <a:rPr lang="en-GB" dirty="0"/>
              <a:t>Title Text</a:t>
            </a:r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416721" y="4464851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 anchor="b"/>
          <a:lstStyle/>
          <a:p>
            <a:r>
              <a:rPr lang="en-GB" dirty="0"/>
              <a:t>Body Level One</a:t>
            </a:r>
          </a:p>
          <a:p>
            <a:pPr lvl="1"/>
            <a:r>
              <a:rPr lang="en-GB" dirty="0"/>
              <a:t>Body Level Two</a:t>
            </a:r>
          </a:p>
          <a:p>
            <a:pPr lvl="2"/>
            <a:r>
              <a:rPr lang="en-GB" dirty="0"/>
              <a:t>Body Level Three</a:t>
            </a:r>
          </a:p>
          <a:p>
            <a:pPr lvl="3"/>
            <a:r>
              <a:rPr lang="en-GB" dirty="0"/>
              <a:t>Body Level Four</a:t>
            </a:r>
          </a:p>
          <a:p>
            <a:pPr lvl="4"/>
            <a:r>
              <a:rPr lang="en-GB" dirty="0"/>
              <a:t>Body Level Five</a:t>
            </a:r>
          </a:p>
        </p:txBody>
      </p:sp>
      <p:sp>
        <p:nvSpPr>
          <p:cNvPr id="5" name="Shape 5"/>
          <p:cNvSpPr>
            <a:spLocks noGrp="1"/>
          </p:cNvSpPr>
          <p:nvPr>
            <p:ph type="sldNum" sz="quarter" idx="2"/>
          </p:nvPr>
        </p:nvSpPr>
        <p:spPr>
          <a:xfrm>
            <a:off x="11108535" y="6338888"/>
            <a:ext cx="666751" cy="283152"/>
          </a:xfrm>
          <a:prstGeom prst="rect">
            <a:avLst/>
          </a:prstGeom>
          <a:ln w="12700">
            <a:miter lim="400000"/>
          </a:ln>
        </p:spPr>
        <p:txBody>
          <a:bodyPr lIns="48767" tIns="48767" rIns="48767" bIns="48767">
            <a:spAutoFit/>
          </a:bodyPr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6CB4B4D-7CA3-9044-876B-883B54F8677D}" type="slidenum">
              <a:rPr lang="en-GB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hape 6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7" name="Shape 7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9" name="logo_ce-en-neg-quadri_ligthgreen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157383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</p:sldLayoutIdLst>
  <p:transition spd="med"/>
  <p:hf hdr="0" ftr="0" dt="0"/>
  <p:txStyles>
    <p:titleStyle>
      <a:lvl1pPr marL="0" marR="0" indent="223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all" spc="0" baseline="0">
          <a:ln>
            <a:noFill/>
          </a:ln>
          <a:solidFill>
            <a:srgbClr val="76B861"/>
          </a:solidFill>
          <a:uFillTx/>
          <a:latin typeface="EC Square Sans Pro" panose="020B0506040000020004" pitchFamily="34" charset="0"/>
          <a:ea typeface="Verdana"/>
          <a:cs typeface="Verdana"/>
          <a:sym typeface="Verdana"/>
        </a:defRPr>
      </a:lvl1pPr>
      <a:lvl2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2pPr>
      <a:lvl3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3pPr>
      <a:lvl4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4pPr>
      <a:lvl5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5pPr>
      <a:lvl6pPr marL="0" marR="0" indent="57371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6pPr>
      <a:lvl7pPr marL="0" marR="0" indent="895169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7pPr>
      <a:lvl8pPr marL="0" marR="0" indent="1216627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8pPr>
      <a:lvl9pPr marL="0" marR="0" indent="1538084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9pPr>
    </p:titleStyle>
    <p:bodyStyle>
      <a:lvl1pPr marL="0" marR="0" indent="0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1pPr>
      <a:lvl2pPr marL="0" marR="0" indent="1607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2pPr>
      <a:lvl3pPr marL="0" marR="0" indent="321457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3pPr>
      <a:lvl4pPr marL="0" marR="0" indent="482186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4pPr>
      <a:lvl5pPr marL="0" marR="0" indent="642915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5pPr>
      <a:lvl6pPr marL="0" marR="0" indent="803643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6pPr>
      <a:lvl7pPr marL="0" marR="0" indent="964372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7pPr>
      <a:lvl8pPr marL="0" marR="0" indent="1125101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8pPr>
      <a:lvl9pPr marL="0" marR="0" indent="12858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1pPr>
      <a:lvl2pPr marL="0" marR="0" indent="32145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2pPr>
      <a:lvl3pPr marL="0" marR="0" indent="642915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3pPr>
      <a:lvl4pPr marL="0" marR="0" indent="964372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4pPr>
      <a:lvl5pPr marL="0" marR="0" indent="128582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5pPr>
      <a:lvl6pPr marL="0" marR="0" indent="160728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6pPr>
      <a:lvl7pPr marL="0" marR="0" indent="1928744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7pPr>
      <a:lvl8pPr marL="0" marR="0" indent="2250201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8pPr>
      <a:lvl9pPr marL="0" marR="0" indent="257165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4417" y="1123977"/>
            <a:ext cx="109728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Lorem ipsum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2387600"/>
            <a:ext cx="10972800" cy="3633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 dirty="0"/>
              <a:t>Et dolor fragum</a:t>
            </a:r>
            <a:endParaRPr lang="en-GB" dirty="0"/>
          </a:p>
          <a:p>
            <a:pPr lvl="1"/>
            <a:r>
              <a:rPr lang="en-GB" dirty="0"/>
              <a:t>Et </a:t>
            </a:r>
            <a:r>
              <a:rPr lang="en-GB" dirty="0" err="1"/>
              <a:t>dolor</a:t>
            </a:r>
            <a:r>
              <a:rPr lang="en-GB" dirty="0"/>
              <a:t> </a:t>
            </a:r>
            <a:r>
              <a:rPr lang="en-GB" dirty="0" err="1"/>
              <a:t>fragum</a:t>
            </a:r>
            <a:endParaRPr lang="en-GB" dirty="0"/>
          </a:p>
          <a:p>
            <a:pPr lvl="2"/>
            <a:r>
              <a:rPr lang="en-GB" dirty="0"/>
              <a:t>- Et </a:t>
            </a:r>
            <a:r>
              <a:rPr lang="en-GB" dirty="0" err="1"/>
              <a:t>dolor</a:t>
            </a:r>
            <a:r>
              <a:rPr lang="en-GB" dirty="0"/>
              <a:t> </a:t>
            </a:r>
            <a:r>
              <a:rPr lang="en-GB" dirty="0" err="1"/>
              <a:t>fragum</a:t>
            </a:r>
            <a:endParaRPr lang="en-GB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tx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lang="en-GB" sz="14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C8D21B7-B314-438C-91E9-7FF9087DC078}" type="slidenum">
              <a:rPr lang="en-GB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437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58" r:id="rId12"/>
  </p:sldLayoutIdLst>
  <p:hf sldNum="0" hdr="0" ftr="0" dt="0"/>
  <p:txStyles>
    <p:titleStyle>
      <a:lvl1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+mj-lt"/>
          <a:ea typeface="+mj-ea"/>
          <a:cs typeface="+mj-cs"/>
        </a:defRPr>
      </a:lvl1pPr>
      <a:lvl2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2pPr>
      <a:lvl3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3pPr>
      <a:lvl4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4pPr>
      <a:lvl5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5pPr>
      <a:lvl6pPr marL="8159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6pPr>
      <a:lvl7pPr marL="12731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7pPr>
      <a:lvl8pPr marL="17303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8pPr>
      <a:lvl9pPr marL="21875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•"/>
        <a:defRPr sz="2400" i="1">
          <a:solidFill>
            <a:srgbClr val="0F5494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9FBA"/>
        </a:buClr>
        <a:buChar char="•"/>
        <a:defRPr sz="2000" b="1">
          <a:solidFill>
            <a:srgbClr val="0F5494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defRPr sz="1400">
          <a:solidFill>
            <a:srgbClr val="0F5494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accent3">
            <a:lumOff val="4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63930376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0" imgW="270" imgH="270" progId="TCLayout.ActiveDocument.1">
                  <p:embed/>
                </p:oleObj>
              </mc:Choice>
              <mc:Fallback>
                <p:oleObj name="Diapositiva de think-cell" r:id="rId10" imgW="270" imgH="270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watermark.png"/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714377" y="-535781"/>
            <a:ext cx="3738563" cy="366204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416721" y="5357819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/>
          <a:lstStyle/>
          <a:p>
            <a:r>
              <a:rPr lang="en-GB" dirty="0"/>
              <a:t>Title Text</a:t>
            </a:r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416721" y="4464851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 anchor="b"/>
          <a:lstStyle/>
          <a:p>
            <a:r>
              <a:rPr lang="en-GB" dirty="0"/>
              <a:t>Body Level One</a:t>
            </a:r>
          </a:p>
          <a:p>
            <a:pPr lvl="1"/>
            <a:r>
              <a:rPr lang="en-GB" dirty="0"/>
              <a:t>Body Level Two</a:t>
            </a:r>
          </a:p>
          <a:p>
            <a:pPr lvl="2"/>
            <a:r>
              <a:rPr lang="en-GB" dirty="0"/>
              <a:t>Body Level Three</a:t>
            </a:r>
          </a:p>
          <a:p>
            <a:pPr lvl="3"/>
            <a:r>
              <a:rPr lang="en-GB" dirty="0"/>
              <a:t>Body Level Four</a:t>
            </a:r>
          </a:p>
          <a:p>
            <a:pPr lvl="4"/>
            <a:r>
              <a:rPr lang="en-GB" dirty="0"/>
              <a:t>Body Level Five</a:t>
            </a:r>
          </a:p>
        </p:txBody>
      </p:sp>
      <p:sp>
        <p:nvSpPr>
          <p:cNvPr id="5" name="Shape 5"/>
          <p:cNvSpPr>
            <a:spLocks noGrp="1"/>
          </p:cNvSpPr>
          <p:nvPr>
            <p:ph type="sldNum" sz="quarter" idx="2"/>
          </p:nvPr>
        </p:nvSpPr>
        <p:spPr>
          <a:xfrm>
            <a:off x="11108535" y="6338888"/>
            <a:ext cx="666751" cy="283152"/>
          </a:xfrm>
          <a:prstGeom prst="rect">
            <a:avLst/>
          </a:prstGeom>
          <a:ln w="12700">
            <a:miter lim="400000"/>
          </a:ln>
        </p:spPr>
        <p:txBody>
          <a:bodyPr lIns="48767" tIns="48767" rIns="48767" bIns="48767">
            <a:spAutoFit/>
          </a:bodyPr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6CB4B4D-7CA3-9044-876B-883B54F8677D}" type="slidenum">
              <a:rPr lang="en-GB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hape 6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7" name="Shape 7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9" name="logo_ce-en-neg-quadri_ligthgreen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2210889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</p:sldLayoutIdLst>
  <p:transition spd="med"/>
  <p:hf hdr="0" ftr="0" dt="0"/>
  <p:txStyles>
    <p:titleStyle>
      <a:lvl1pPr marL="0" marR="0" indent="223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all" spc="0" baseline="0">
          <a:ln>
            <a:noFill/>
          </a:ln>
          <a:solidFill>
            <a:srgbClr val="76B861"/>
          </a:solidFill>
          <a:uFillTx/>
          <a:latin typeface="EC Square Sans Pro" panose="020B0506040000020004" pitchFamily="34" charset="0"/>
          <a:ea typeface="Verdana"/>
          <a:cs typeface="Verdana"/>
          <a:sym typeface="Verdana"/>
        </a:defRPr>
      </a:lvl1pPr>
      <a:lvl2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2pPr>
      <a:lvl3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3pPr>
      <a:lvl4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4pPr>
      <a:lvl5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5pPr>
      <a:lvl6pPr marL="0" marR="0" indent="57371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6pPr>
      <a:lvl7pPr marL="0" marR="0" indent="895169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7pPr>
      <a:lvl8pPr marL="0" marR="0" indent="1216627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8pPr>
      <a:lvl9pPr marL="0" marR="0" indent="1538084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9pPr>
    </p:titleStyle>
    <p:bodyStyle>
      <a:lvl1pPr marL="0" marR="0" indent="0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1pPr>
      <a:lvl2pPr marL="0" marR="0" indent="1607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2pPr>
      <a:lvl3pPr marL="0" marR="0" indent="321457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3pPr>
      <a:lvl4pPr marL="0" marR="0" indent="482186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4pPr>
      <a:lvl5pPr marL="0" marR="0" indent="642915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5pPr>
      <a:lvl6pPr marL="0" marR="0" indent="803643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6pPr>
      <a:lvl7pPr marL="0" marR="0" indent="964372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7pPr>
      <a:lvl8pPr marL="0" marR="0" indent="1125101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8pPr>
      <a:lvl9pPr marL="0" marR="0" indent="12858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1pPr>
      <a:lvl2pPr marL="0" marR="0" indent="32145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2pPr>
      <a:lvl3pPr marL="0" marR="0" indent="642915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3pPr>
      <a:lvl4pPr marL="0" marR="0" indent="964372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4pPr>
      <a:lvl5pPr marL="0" marR="0" indent="128582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5pPr>
      <a:lvl6pPr marL="0" marR="0" indent="160728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6pPr>
      <a:lvl7pPr marL="0" marR="0" indent="1928744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7pPr>
      <a:lvl8pPr marL="0" marR="0" indent="2250201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8pPr>
      <a:lvl9pPr marL="0" marR="0" indent="257165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7051" y="1339850"/>
            <a:ext cx="1097280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2492378"/>
            <a:ext cx="10972800" cy="3529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 altLang="en-US"/>
              <a:t>Second level</a:t>
            </a:r>
            <a:endParaRPr lang="en-GB" altLang="en-US"/>
          </a:p>
          <a:p>
            <a:pPr lvl="1"/>
            <a:r>
              <a:rPr lang="en-GB" altLang="en-US"/>
              <a:t>Third level</a:t>
            </a:r>
          </a:p>
          <a:p>
            <a:pPr lvl="2"/>
            <a:r>
              <a:rPr lang="en-GB" altLang="en-US"/>
              <a:t>- Four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50">
                <a:solidFill>
                  <a:schemeClr val="tx1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50">
                <a:solidFill>
                  <a:schemeClr val="tx1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50">
                <a:solidFill>
                  <a:schemeClr val="tx1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AFA3CEC-EFFB-4BD2-9151-F8429031D6E4}" type="slidenum">
              <a:rPr lang="en-GB" alt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12192000" cy="95726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900">
              <a:defRPr/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683251" y="6659580"/>
            <a:ext cx="814916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900">
              <a:defRPr/>
            </a:pPr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1041" name="Picture 17" descr="LOGO CE_Vertical_EN_NEG_quadri_HR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6852" y="258767"/>
            <a:ext cx="1915583" cy="100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7009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</p:sldLayoutIdLst>
  <p:txStyles>
    <p:titleStyle>
      <a:lvl1pPr marL="269081" algn="l" rtl="0" eaLnBrk="1" fontAlgn="base" hangingPunct="1">
        <a:spcBef>
          <a:spcPct val="0"/>
        </a:spcBef>
        <a:spcAft>
          <a:spcPct val="0"/>
        </a:spcAft>
        <a:defRPr sz="2250" b="1">
          <a:solidFill>
            <a:srgbClr val="0F5494"/>
          </a:solidFill>
          <a:latin typeface="+mj-lt"/>
          <a:ea typeface="+mj-ea"/>
          <a:cs typeface="+mj-cs"/>
        </a:defRPr>
      </a:lvl1pPr>
      <a:lvl2pPr marL="269081" algn="l" rtl="0" eaLnBrk="1" fontAlgn="base" hangingPunct="1">
        <a:spcBef>
          <a:spcPct val="0"/>
        </a:spcBef>
        <a:spcAft>
          <a:spcPct val="0"/>
        </a:spcAft>
        <a:defRPr sz="2250" b="1">
          <a:solidFill>
            <a:srgbClr val="0F5494"/>
          </a:solidFill>
          <a:latin typeface="Verdana" pitchFamily="34" charset="0"/>
        </a:defRPr>
      </a:lvl2pPr>
      <a:lvl3pPr marL="269081" algn="l" rtl="0" eaLnBrk="1" fontAlgn="base" hangingPunct="1">
        <a:spcBef>
          <a:spcPct val="0"/>
        </a:spcBef>
        <a:spcAft>
          <a:spcPct val="0"/>
        </a:spcAft>
        <a:defRPr sz="2250" b="1">
          <a:solidFill>
            <a:srgbClr val="0F5494"/>
          </a:solidFill>
          <a:latin typeface="Verdana" pitchFamily="34" charset="0"/>
        </a:defRPr>
      </a:lvl3pPr>
      <a:lvl4pPr marL="269081" algn="l" rtl="0" eaLnBrk="1" fontAlgn="base" hangingPunct="1">
        <a:spcBef>
          <a:spcPct val="0"/>
        </a:spcBef>
        <a:spcAft>
          <a:spcPct val="0"/>
        </a:spcAft>
        <a:defRPr sz="2250" b="1">
          <a:solidFill>
            <a:srgbClr val="0F5494"/>
          </a:solidFill>
          <a:latin typeface="Verdana" pitchFamily="34" charset="0"/>
        </a:defRPr>
      </a:lvl4pPr>
      <a:lvl5pPr marL="269081" algn="l" rtl="0" eaLnBrk="1" fontAlgn="base" hangingPunct="1">
        <a:spcBef>
          <a:spcPct val="0"/>
        </a:spcBef>
        <a:spcAft>
          <a:spcPct val="0"/>
        </a:spcAft>
        <a:defRPr sz="2250" b="1">
          <a:solidFill>
            <a:srgbClr val="0F5494"/>
          </a:solidFill>
          <a:latin typeface="Verdana" pitchFamily="34" charset="0"/>
        </a:defRPr>
      </a:lvl5pPr>
      <a:lvl6pPr marL="611981" algn="l" rtl="0" eaLnBrk="1" fontAlgn="base" hangingPunct="1">
        <a:spcBef>
          <a:spcPct val="0"/>
        </a:spcBef>
        <a:spcAft>
          <a:spcPct val="0"/>
        </a:spcAft>
        <a:defRPr sz="2250" b="1">
          <a:solidFill>
            <a:srgbClr val="0F5494"/>
          </a:solidFill>
          <a:latin typeface="Verdana" pitchFamily="34" charset="0"/>
        </a:defRPr>
      </a:lvl6pPr>
      <a:lvl7pPr marL="954881" algn="l" rtl="0" eaLnBrk="1" fontAlgn="base" hangingPunct="1">
        <a:spcBef>
          <a:spcPct val="0"/>
        </a:spcBef>
        <a:spcAft>
          <a:spcPct val="0"/>
        </a:spcAft>
        <a:defRPr sz="2250" b="1">
          <a:solidFill>
            <a:srgbClr val="0F5494"/>
          </a:solidFill>
          <a:latin typeface="Verdana" pitchFamily="34" charset="0"/>
        </a:defRPr>
      </a:lvl7pPr>
      <a:lvl8pPr marL="1297781" algn="l" rtl="0" eaLnBrk="1" fontAlgn="base" hangingPunct="1">
        <a:spcBef>
          <a:spcPct val="0"/>
        </a:spcBef>
        <a:spcAft>
          <a:spcPct val="0"/>
        </a:spcAft>
        <a:defRPr sz="2250" b="1">
          <a:solidFill>
            <a:srgbClr val="0F5494"/>
          </a:solidFill>
          <a:latin typeface="Verdana" pitchFamily="34" charset="0"/>
        </a:defRPr>
      </a:lvl8pPr>
      <a:lvl9pPr marL="1640681" algn="l" rtl="0" eaLnBrk="1" fontAlgn="base" hangingPunct="1">
        <a:spcBef>
          <a:spcPct val="0"/>
        </a:spcBef>
        <a:spcAft>
          <a:spcPct val="0"/>
        </a:spcAft>
        <a:defRPr sz="2250" b="1">
          <a:solidFill>
            <a:srgbClr val="0F5494"/>
          </a:solidFill>
          <a:latin typeface="Verdana" pitchFamily="34" charset="0"/>
        </a:defRPr>
      </a:lvl9pPr>
    </p:titleStyle>
    <p:bodyStyle>
      <a:lvl1pPr marL="257175" indent="-257175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•"/>
        <a:defRPr sz="1800" i="1">
          <a:solidFill>
            <a:srgbClr val="0F5494"/>
          </a:solidFill>
          <a:latin typeface="+mn-lt"/>
          <a:ea typeface="+mn-ea"/>
          <a:cs typeface="+mn-cs"/>
        </a:defRPr>
      </a:lvl1pPr>
      <a:lvl2pPr marL="557213" indent="-214313" algn="l" rtl="0" eaLnBrk="1" fontAlgn="base" hangingPunct="1">
        <a:spcBef>
          <a:spcPct val="20000"/>
        </a:spcBef>
        <a:spcAft>
          <a:spcPct val="0"/>
        </a:spcAft>
        <a:buClr>
          <a:srgbClr val="009FBA"/>
        </a:buClr>
        <a:buChar char="•"/>
        <a:defRPr sz="1500" b="1">
          <a:solidFill>
            <a:srgbClr val="0F5494"/>
          </a:solidFill>
          <a:latin typeface="+mn-lt"/>
        </a:defRPr>
      </a:lvl2pPr>
      <a:lvl3pPr marL="857250" indent="-171450" algn="l" rtl="0" eaLnBrk="1" fontAlgn="base" hangingPunct="1">
        <a:spcBef>
          <a:spcPct val="20000"/>
        </a:spcBef>
        <a:spcAft>
          <a:spcPct val="0"/>
        </a:spcAft>
        <a:defRPr sz="1050">
          <a:solidFill>
            <a:srgbClr val="0F5494"/>
          </a:solidFill>
          <a:latin typeface="+mn-lt"/>
        </a:defRPr>
      </a:lvl3pPr>
      <a:lvl4pPr marL="1200150" indent="-171450" algn="l" rtl="0" eaLnBrk="1" fontAlgn="base" hangingPunct="1">
        <a:spcBef>
          <a:spcPct val="20000"/>
        </a:spcBef>
        <a:spcAft>
          <a:spcPct val="0"/>
        </a:spcAft>
        <a:buChar char="–"/>
        <a:defRPr sz="1500">
          <a:solidFill>
            <a:schemeClr val="tx1"/>
          </a:solidFill>
          <a:latin typeface="Arial" charset="0"/>
        </a:defRPr>
      </a:lvl4pPr>
      <a:lvl5pPr marL="15430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Arial" charset="0"/>
        </a:defRPr>
      </a:lvl5pPr>
      <a:lvl6pPr marL="18859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Arial" charset="0"/>
        </a:defRPr>
      </a:lvl6pPr>
      <a:lvl7pPr marL="22288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Arial" charset="0"/>
        </a:defRPr>
      </a:lvl7pPr>
      <a:lvl8pPr marL="25717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Arial" charset="0"/>
        </a:defRPr>
      </a:lvl8pPr>
      <a:lvl9pPr marL="29146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Arial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diagramLayout" Target="../diagrams/layout3.xml"/><Relationship Id="rId7" Type="http://schemas.openxmlformats.org/officeDocument/2006/relationships/image" Target="../media/image39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4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mailto:EMPL-ESCOSECRETARIAT@ec.europa.eu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7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12" Type="http://schemas.openxmlformats.org/officeDocument/2006/relationships/image" Target="../media/image28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2.sv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svg"/><Relationship Id="rId4" Type="http://schemas.openxmlformats.org/officeDocument/2006/relationships/image" Target="../media/image20.svg"/><Relationship Id="rId9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sv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33.sv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37.svg"/><Relationship Id="rId10" Type="http://schemas.openxmlformats.org/officeDocument/2006/relationships/image" Target="../media/image32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31.svg"/><Relationship Id="rId14" Type="http://schemas.openxmlformats.org/officeDocument/2006/relationships/image" Target="../media/image3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988818" y="1467344"/>
            <a:ext cx="6081262" cy="2742915"/>
          </a:xfrm>
        </p:spPr>
        <p:txBody>
          <a:bodyPr/>
          <a:lstStyle/>
          <a:p>
            <a:pPr marL="0"/>
            <a:br>
              <a:rPr lang="fr-BE" sz="4000" dirty="0"/>
            </a:br>
            <a:r>
              <a:rPr lang="fr-BE" sz="2800" dirty="0" err="1">
                <a:latin typeface="Arial" panose="020B0604020202020204" pitchFamily="34" charset="0"/>
                <a:cs typeface="Arial" panose="020B0604020202020204" pitchFamily="34" charset="0"/>
              </a:rPr>
              <a:t>Overview</a:t>
            </a:r>
            <a:r>
              <a:rPr lang="fr-BE" sz="2800" dirty="0">
                <a:latin typeface="Arial" panose="020B0604020202020204" pitchFamily="34" charset="0"/>
                <a:cs typeface="Arial" panose="020B0604020202020204" pitchFamily="34" charset="0"/>
              </a:rPr>
              <a:t> of ESCO v1.1</a:t>
            </a:r>
            <a:br>
              <a:rPr lang="fr-BE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BE" sz="2800" dirty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</a:rPr>
              <a:t>15th </a:t>
            </a:r>
            <a:r>
              <a:rPr lang="de-DE" altLang="ko-KR" sz="2800" dirty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</a:rPr>
              <a:t>ESCO MSWG and</a:t>
            </a:r>
            <a:br>
              <a:rPr lang="de-DE" altLang="ko-KR" sz="2800" dirty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</a:rPr>
            </a:br>
            <a:r>
              <a:rPr lang="de-DE" altLang="ko-KR" sz="2800" dirty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</a:rPr>
              <a:t>36th ESCO MAI meeting</a:t>
            </a:r>
            <a:br>
              <a:rPr lang="de-DE" sz="2800" dirty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</a:rPr>
            </a:br>
            <a:br>
              <a:rPr lang="de-DE" sz="2800" dirty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</a:rPr>
            </a:br>
            <a:r>
              <a:rPr lang="de-DE" sz="2800" i="1" dirty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</a:rPr>
              <a:t>29 November 2021</a:t>
            </a:r>
            <a:endParaRPr lang="en-GB" sz="2800" b="0" i="1" dirty="0"/>
          </a:p>
        </p:txBody>
      </p:sp>
    </p:spTree>
    <p:extLst>
      <p:ext uri="{BB962C8B-B14F-4D97-AF65-F5344CB8AC3E}">
        <p14:creationId xmlns:p14="http://schemas.microsoft.com/office/powerpoint/2010/main" val="15718738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2AD8FF34-0ADF-4997-9FAB-35E4E7DDA0DF}"/>
              </a:ext>
            </a:extLst>
          </p:cNvPr>
          <p:cNvSpPr txBox="1">
            <a:spLocks/>
          </p:cNvSpPr>
          <p:nvPr/>
        </p:nvSpPr>
        <p:spPr bwMode="auto">
          <a:xfrm>
            <a:off x="609600" y="479027"/>
            <a:ext cx="109728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kern="0" dirty="0"/>
              <a:t>Methodology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F6C3F0C8-5E34-4339-95E1-2F7EDC190F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87645154"/>
              </p:ext>
            </p:extLst>
          </p:nvPr>
        </p:nvGraphicFramePr>
        <p:xfrm>
          <a:off x="1721059" y="2484455"/>
          <a:ext cx="8990484" cy="27796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11F4D198-D3CE-4835-8591-82404E004FE6}"/>
              </a:ext>
            </a:extLst>
          </p:cNvPr>
          <p:cNvSpPr txBox="1">
            <a:spLocks/>
          </p:cNvSpPr>
          <p:nvPr/>
        </p:nvSpPr>
        <p:spPr bwMode="auto">
          <a:xfrm>
            <a:off x="609600" y="947339"/>
            <a:ext cx="109728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000" kern="0" dirty="0">
                <a:solidFill>
                  <a:schemeClr val="accent1">
                    <a:lumMod val="50000"/>
                  </a:schemeClr>
                </a:solidFill>
              </a:rPr>
              <a:t>Hybrid approach, supported by data scienc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8BC7505-110D-4D02-AA32-CA652D7E5311}"/>
              </a:ext>
            </a:extLst>
          </p:cNvPr>
          <p:cNvSpPr txBox="1"/>
          <p:nvPr/>
        </p:nvSpPr>
        <p:spPr>
          <a:xfrm>
            <a:off x="3523878" y="2121443"/>
            <a:ext cx="18405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0" dirty="0">
                <a:solidFill>
                  <a:srgbClr val="0F5494"/>
                </a:solidFill>
              </a:rPr>
              <a:t>ESCO v1.1</a:t>
            </a:r>
          </a:p>
        </p:txBody>
      </p:sp>
      <p:cxnSp>
        <p:nvCxnSpPr>
          <p:cNvPr id="19" name="Connector: Curved 18">
            <a:extLst>
              <a:ext uri="{FF2B5EF4-FFF2-40B4-BE49-F238E27FC236}">
                <a16:creationId xmlns:a16="http://schemas.microsoft.com/office/drawing/2014/main" id="{8B12FFEA-974A-486A-A3DF-51D9A25AEE94}"/>
              </a:ext>
            </a:extLst>
          </p:cNvPr>
          <p:cNvCxnSpPr>
            <a:cxnSpLocks/>
            <a:stCxn id="5" idx="1"/>
          </p:cNvCxnSpPr>
          <p:nvPr/>
        </p:nvCxnSpPr>
        <p:spPr bwMode="auto">
          <a:xfrm rot="10800000" flipV="1">
            <a:off x="1818752" y="2352276"/>
            <a:ext cx="1705126" cy="1415856"/>
          </a:xfrm>
          <a:prstGeom prst="curvedConnector3">
            <a:avLst>
              <a:gd name="adj1" fmla="val 128377"/>
            </a:avLst>
          </a:prstGeom>
          <a:ln w="57150"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6" name="Connector: Curved 25">
            <a:extLst>
              <a:ext uri="{FF2B5EF4-FFF2-40B4-BE49-F238E27FC236}">
                <a16:creationId xmlns:a16="http://schemas.microsoft.com/office/drawing/2014/main" id="{37437C4B-30B8-4E5F-9350-83E6ADD6C598}"/>
              </a:ext>
            </a:extLst>
          </p:cNvPr>
          <p:cNvCxnSpPr>
            <a:cxnSpLocks/>
          </p:cNvCxnSpPr>
          <p:nvPr/>
        </p:nvCxnSpPr>
        <p:spPr bwMode="auto">
          <a:xfrm rot="10800000" flipV="1">
            <a:off x="9346642" y="3980449"/>
            <a:ext cx="1705126" cy="1415856"/>
          </a:xfrm>
          <a:prstGeom prst="curvedConnector3">
            <a:avLst>
              <a:gd name="adj1" fmla="val -21306"/>
            </a:avLst>
          </a:prstGeom>
          <a:ln w="57150"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B66684C8-E544-466D-8D8E-4D89A3B1F116}"/>
              </a:ext>
            </a:extLst>
          </p:cNvPr>
          <p:cNvSpPr txBox="1"/>
          <p:nvPr/>
        </p:nvSpPr>
        <p:spPr>
          <a:xfrm>
            <a:off x="2610503" y="5120101"/>
            <a:ext cx="67361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0" dirty="0">
                <a:solidFill>
                  <a:srgbClr val="0F5494"/>
                </a:solidFill>
              </a:rPr>
              <a:t>Taxonomy of skills for the green transition</a:t>
            </a:r>
          </a:p>
        </p:txBody>
      </p:sp>
    </p:spTree>
    <p:extLst>
      <p:ext uri="{BB962C8B-B14F-4D97-AF65-F5344CB8AC3E}">
        <p14:creationId xmlns:p14="http://schemas.microsoft.com/office/powerpoint/2010/main" val="27465372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625D517-0787-4E18-9C87-AAD145EC18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Application of AI in ESCO v1.1</a:t>
            </a:r>
          </a:p>
        </p:txBody>
      </p:sp>
    </p:spTree>
    <p:extLst>
      <p:ext uri="{BB962C8B-B14F-4D97-AF65-F5344CB8AC3E}">
        <p14:creationId xmlns:p14="http://schemas.microsoft.com/office/powerpoint/2010/main" val="18599824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Diagram 14">
            <a:extLst>
              <a:ext uri="{FF2B5EF4-FFF2-40B4-BE49-F238E27FC236}">
                <a16:creationId xmlns:a16="http://schemas.microsoft.com/office/drawing/2014/main" id="{48F85B7D-975D-4E07-B295-A19155B350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9670518"/>
              </p:ext>
            </p:extLst>
          </p:nvPr>
        </p:nvGraphicFramePr>
        <p:xfrm>
          <a:off x="609600" y="1389455"/>
          <a:ext cx="9509090" cy="49108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9E097CB1-40EF-4E49-826D-D0C07E9592D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6000" y="3368369"/>
            <a:ext cx="2608946" cy="121456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2" descr="Project to use ESCO Classification">
            <a:extLst>
              <a:ext uri="{FF2B5EF4-FFF2-40B4-BE49-F238E27FC236}">
                <a16:creationId xmlns:a16="http://schemas.microsoft.com/office/drawing/2014/main" id="{3D9BDA53-2B9A-44D1-8E9C-6B36140595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9256" y="5220118"/>
            <a:ext cx="1558856" cy="818399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2AD8FF34-0ADF-4997-9FAB-35E4E7DDA0DF}"/>
              </a:ext>
            </a:extLst>
          </p:cNvPr>
          <p:cNvSpPr txBox="1">
            <a:spLocks/>
          </p:cNvSpPr>
          <p:nvPr/>
        </p:nvSpPr>
        <p:spPr bwMode="auto">
          <a:xfrm>
            <a:off x="609600" y="479027"/>
            <a:ext cx="109728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GB" dirty="0">
                <a:ea typeface="+mj-lt"/>
                <a:cs typeface="+mj-lt"/>
              </a:rPr>
              <a:t>ESCO: an expert driven classification</a:t>
            </a:r>
            <a:endParaRPr lang="en-US" kern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760F946-6265-4BC8-B174-67807FC15B7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60210" y="1380369"/>
            <a:ext cx="1032448" cy="144982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9497332-1103-4F84-8E2E-EC8B6A3E7BB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12610" y="1532769"/>
            <a:ext cx="1032448" cy="144982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918EF75-F1EB-4CEE-81E5-6289EB8124D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65010" y="1685169"/>
            <a:ext cx="1032448" cy="144982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792845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F895E0F3-4F8F-4807-B8E4-020FFCE7D7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6428192"/>
              </p:ext>
            </p:extLst>
          </p:nvPr>
        </p:nvGraphicFramePr>
        <p:xfrm>
          <a:off x="609600" y="1389455"/>
          <a:ext cx="10972800" cy="49108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Title 1">
            <a:extLst>
              <a:ext uri="{FF2B5EF4-FFF2-40B4-BE49-F238E27FC236}">
                <a16:creationId xmlns:a16="http://schemas.microsoft.com/office/drawing/2014/main" id="{2AD8FF34-0ADF-4997-9FAB-35E4E7DDA0DF}"/>
              </a:ext>
            </a:extLst>
          </p:cNvPr>
          <p:cNvSpPr txBox="1">
            <a:spLocks/>
          </p:cNvSpPr>
          <p:nvPr/>
        </p:nvSpPr>
        <p:spPr bwMode="auto">
          <a:xfrm>
            <a:off x="609600" y="479027"/>
            <a:ext cx="109728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GB">
                <a:ea typeface="+mj-lt"/>
                <a:cs typeface="+mj-lt"/>
              </a:rPr>
              <a:t>ESCO v1.1: efficiencies through data science &amp; AI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17799703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625D517-0787-4E18-9C87-AAD145EC18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18675114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1FE8CF0-EC80-4A71-B0CC-B2150AA2DAF4}"/>
              </a:ext>
            </a:extLst>
          </p:cNvPr>
          <p:cNvSpPr txBox="1"/>
          <p:nvPr/>
        </p:nvSpPr>
        <p:spPr>
          <a:xfrm>
            <a:off x="713432" y="2041047"/>
            <a:ext cx="10420141" cy="41088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2400" b="0" dirty="0">
                <a:solidFill>
                  <a:srgbClr val="0F5494"/>
                </a:solidFill>
              </a:rPr>
              <a:t>Occupations, skills, knowledge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000" b="0" dirty="0">
                <a:solidFill>
                  <a:srgbClr val="0F5494"/>
                </a:solidFill>
              </a:rPr>
              <a:t>Starting 30 November 2021 – ending 31 January 2022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000" b="0" dirty="0">
                <a:solidFill>
                  <a:srgbClr val="0F5494"/>
                </a:solidFill>
              </a:rPr>
              <a:t>Three excel files per language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400" dirty="0">
              <a:solidFill>
                <a:srgbClr val="0F5494"/>
              </a:solidFill>
            </a:endParaRP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GB" sz="2400" dirty="0">
              <a:solidFill>
                <a:srgbClr val="0F5494"/>
              </a:solidFill>
            </a:endParaRPr>
          </a:p>
          <a:p>
            <a:pPr>
              <a:spcAft>
                <a:spcPts val="1200"/>
              </a:spcAft>
            </a:pPr>
            <a:r>
              <a:rPr lang="en-GB" sz="2400" b="0" dirty="0">
                <a:solidFill>
                  <a:srgbClr val="0F5494"/>
                </a:solidFill>
              </a:rPr>
              <a:t>Transversal skills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b="0" dirty="0">
                <a:solidFill>
                  <a:srgbClr val="0F5494"/>
                </a:solidFill>
              </a:rPr>
              <a:t>Starting December 2021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GB" sz="2000" dirty="0">
              <a:solidFill>
                <a:srgbClr val="0F5494"/>
              </a:solidFill>
            </a:endParaRPr>
          </a:p>
          <a:p>
            <a:pPr algn="ctr">
              <a:spcAft>
                <a:spcPts val="1200"/>
              </a:spcAft>
            </a:pPr>
            <a:r>
              <a:rPr lang="en-GB" sz="2000" b="0" dirty="0">
                <a:solidFill>
                  <a:srgbClr val="0F5494"/>
                </a:solidFill>
              </a:rPr>
              <a:t>Feedback to be sent to </a:t>
            </a:r>
            <a:r>
              <a:rPr lang="en-GB" sz="2000" dirty="0">
                <a:hlinkClick r:id="rId3"/>
              </a:rPr>
              <a:t>EMPL-ESCO-SECRETARIAT@ec.europa.eu</a:t>
            </a:r>
            <a:r>
              <a:rPr lang="en-GB" sz="2000" dirty="0"/>
              <a:t> </a:t>
            </a:r>
            <a:endParaRPr lang="en-GB" sz="2000" b="0" dirty="0">
              <a:solidFill>
                <a:srgbClr val="0F5494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AD8FF34-0ADF-4997-9FAB-35E4E7DDA0DF}"/>
              </a:ext>
            </a:extLst>
          </p:cNvPr>
          <p:cNvSpPr txBox="1">
            <a:spLocks/>
          </p:cNvSpPr>
          <p:nvPr/>
        </p:nvSpPr>
        <p:spPr bwMode="auto">
          <a:xfrm>
            <a:off x="609600" y="479027"/>
            <a:ext cx="109728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kern="0" dirty="0"/>
              <a:t>Next steps: consultation on translations</a:t>
            </a: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67D93B70-A0CB-4626-BA1A-AC382C78D2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4954431"/>
              </p:ext>
            </p:extLst>
          </p:nvPr>
        </p:nvGraphicFramePr>
        <p:xfrm>
          <a:off x="1058427" y="3638255"/>
          <a:ext cx="10715887" cy="4572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530841">
                  <a:extLst>
                    <a:ext uri="{9D8B030D-6E8A-4147-A177-3AD203B41FA5}">
                      <a16:colId xmlns:a16="http://schemas.microsoft.com/office/drawing/2014/main" val="299069455"/>
                    </a:ext>
                  </a:extLst>
                </a:gridCol>
                <a:gridCol w="1530841">
                  <a:extLst>
                    <a:ext uri="{9D8B030D-6E8A-4147-A177-3AD203B41FA5}">
                      <a16:colId xmlns:a16="http://schemas.microsoft.com/office/drawing/2014/main" val="1808554547"/>
                    </a:ext>
                  </a:extLst>
                </a:gridCol>
                <a:gridCol w="1530841">
                  <a:extLst>
                    <a:ext uri="{9D8B030D-6E8A-4147-A177-3AD203B41FA5}">
                      <a16:colId xmlns:a16="http://schemas.microsoft.com/office/drawing/2014/main" val="1896664021"/>
                    </a:ext>
                  </a:extLst>
                </a:gridCol>
                <a:gridCol w="1530841">
                  <a:extLst>
                    <a:ext uri="{9D8B030D-6E8A-4147-A177-3AD203B41FA5}">
                      <a16:colId xmlns:a16="http://schemas.microsoft.com/office/drawing/2014/main" val="2073046203"/>
                    </a:ext>
                  </a:extLst>
                </a:gridCol>
                <a:gridCol w="1530841">
                  <a:extLst>
                    <a:ext uri="{9D8B030D-6E8A-4147-A177-3AD203B41FA5}">
                      <a16:colId xmlns:a16="http://schemas.microsoft.com/office/drawing/2014/main" val="2281670622"/>
                    </a:ext>
                  </a:extLst>
                </a:gridCol>
                <a:gridCol w="1530841">
                  <a:extLst>
                    <a:ext uri="{9D8B030D-6E8A-4147-A177-3AD203B41FA5}">
                      <a16:colId xmlns:a16="http://schemas.microsoft.com/office/drawing/2014/main" val="2377353495"/>
                    </a:ext>
                  </a:extLst>
                </a:gridCol>
                <a:gridCol w="1530841">
                  <a:extLst>
                    <a:ext uri="{9D8B030D-6E8A-4147-A177-3AD203B41FA5}">
                      <a16:colId xmlns:a16="http://schemas.microsoft.com/office/drawing/2014/main" val="382114507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dirty="0"/>
                        <a:t>Concept UR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Preferred lab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Suggested translation</a:t>
                      </a:r>
                    </a:p>
                  </a:txBody>
                  <a:tcPr>
                    <a:solidFill>
                      <a:srgbClr val="76B86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Alternative labe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Suggested translation</a:t>
                      </a:r>
                    </a:p>
                  </a:txBody>
                  <a:tcPr>
                    <a:solidFill>
                      <a:srgbClr val="76B86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Suggested translation</a:t>
                      </a:r>
                    </a:p>
                  </a:txBody>
                  <a:tcPr>
                    <a:solidFill>
                      <a:srgbClr val="76B8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1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14576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2AD8FF34-0ADF-4997-9FAB-35E4E7DDA0DF}"/>
              </a:ext>
            </a:extLst>
          </p:cNvPr>
          <p:cNvSpPr txBox="1">
            <a:spLocks/>
          </p:cNvSpPr>
          <p:nvPr/>
        </p:nvSpPr>
        <p:spPr bwMode="auto">
          <a:xfrm>
            <a:off x="609600" y="479027"/>
            <a:ext cx="109728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kern="0" dirty="0"/>
              <a:t>Next steps: publication and communicatio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C7FBBFB-9821-4135-9365-EADD858BDC42}"/>
              </a:ext>
            </a:extLst>
          </p:cNvPr>
          <p:cNvGrpSpPr/>
          <p:nvPr/>
        </p:nvGrpSpPr>
        <p:grpSpPr>
          <a:xfrm>
            <a:off x="4061049" y="3993659"/>
            <a:ext cx="2173193" cy="2497923"/>
            <a:chOff x="2087644" y="1276126"/>
            <a:chExt cx="1305081" cy="1500093"/>
          </a:xfrm>
        </p:grpSpPr>
        <p:sp>
          <p:nvSpPr>
            <p:cNvPr id="5" name="Hexagon 4">
              <a:extLst>
                <a:ext uri="{FF2B5EF4-FFF2-40B4-BE49-F238E27FC236}">
                  <a16:creationId xmlns:a16="http://schemas.microsoft.com/office/drawing/2014/main" id="{EDC259C2-11D9-4592-BC3B-14C011B349C7}"/>
                </a:ext>
              </a:extLst>
            </p:cNvPr>
            <p:cNvSpPr/>
            <p:nvPr/>
          </p:nvSpPr>
          <p:spPr>
            <a:xfrm rot="5400000">
              <a:off x="1990138" y="1373632"/>
              <a:ext cx="1500093" cy="1305081"/>
            </a:xfrm>
            <a:prstGeom prst="hexagon">
              <a:avLst>
                <a:gd name="adj" fmla="val 25000"/>
                <a:gd name="vf" fmla="val 11547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shade val="50000"/>
                <a:hueOff val="0"/>
                <a:satOff val="-16266"/>
                <a:lumOff val="26389"/>
                <a:alphaOff val="0"/>
              </a:schemeClr>
            </a:fillRef>
            <a:effectRef idx="0">
              <a:schemeClr val="accent2">
                <a:shade val="50000"/>
                <a:hueOff val="0"/>
                <a:satOff val="-16266"/>
                <a:lumOff val="2638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" name="Hexagon 4">
              <a:extLst>
                <a:ext uri="{FF2B5EF4-FFF2-40B4-BE49-F238E27FC236}">
                  <a16:creationId xmlns:a16="http://schemas.microsoft.com/office/drawing/2014/main" id="{9169CC46-B620-4F92-9F86-68C1FB4B7D8D}"/>
                </a:ext>
              </a:extLst>
            </p:cNvPr>
            <p:cNvSpPr txBox="1"/>
            <p:nvPr/>
          </p:nvSpPr>
          <p:spPr>
            <a:xfrm>
              <a:off x="2246103" y="1509892"/>
              <a:ext cx="988164" cy="103256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000" kern="1200" dirty="0"/>
                <a:t>News item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0832C9C-8C95-4D11-89C5-B8EDABFF3588}"/>
              </a:ext>
            </a:extLst>
          </p:cNvPr>
          <p:cNvGrpSpPr/>
          <p:nvPr/>
        </p:nvGrpSpPr>
        <p:grpSpPr>
          <a:xfrm>
            <a:off x="5147646" y="1965024"/>
            <a:ext cx="2190323" cy="2517612"/>
            <a:chOff x="2795088" y="2846"/>
            <a:chExt cx="1305081" cy="1500093"/>
          </a:xfrm>
        </p:grpSpPr>
        <p:sp>
          <p:nvSpPr>
            <p:cNvPr id="8" name="Hexagon 7">
              <a:extLst>
                <a:ext uri="{FF2B5EF4-FFF2-40B4-BE49-F238E27FC236}">
                  <a16:creationId xmlns:a16="http://schemas.microsoft.com/office/drawing/2014/main" id="{A42558F2-7B6E-480A-88A1-6A49D3FE4587}"/>
                </a:ext>
              </a:extLst>
            </p:cNvPr>
            <p:cNvSpPr/>
            <p:nvPr/>
          </p:nvSpPr>
          <p:spPr>
            <a:xfrm rot="5400000">
              <a:off x="2697582" y="100352"/>
              <a:ext cx="1500093" cy="1305081"/>
            </a:xfrm>
            <a:prstGeom prst="hexagon">
              <a:avLst>
                <a:gd name="adj" fmla="val 25000"/>
                <a:gd name="vf" fmla="val 11547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shade val="50000"/>
                <a:hueOff val="0"/>
                <a:satOff val="-16266"/>
                <a:lumOff val="26389"/>
                <a:alphaOff val="0"/>
              </a:schemeClr>
            </a:fillRef>
            <a:effectRef idx="0">
              <a:schemeClr val="accent2">
                <a:shade val="50000"/>
                <a:hueOff val="0"/>
                <a:satOff val="-16266"/>
                <a:lumOff val="2638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Hexagon 4">
              <a:extLst>
                <a:ext uri="{FF2B5EF4-FFF2-40B4-BE49-F238E27FC236}">
                  <a16:creationId xmlns:a16="http://schemas.microsoft.com/office/drawing/2014/main" id="{690A76F0-2D2E-4A6A-A3E9-E24E85F49A3C}"/>
                </a:ext>
              </a:extLst>
            </p:cNvPr>
            <p:cNvSpPr txBox="1"/>
            <p:nvPr/>
          </p:nvSpPr>
          <p:spPr>
            <a:xfrm>
              <a:off x="2998463" y="236612"/>
              <a:ext cx="898331" cy="103256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>
              <a:defPPr>
                <a:defRPr lang="en-US"/>
              </a:defPPr>
              <a:lvl1pPr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  <a:defRPr sz="2000"/>
              </a:lvl1pPr>
            </a:lstStyle>
            <a:p>
              <a:r>
                <a:rPr lang="en-GB" dirty="0"/>
                <a:t>Launch event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2822B2F-15DA-4D28-9080-702828D91F92}"/>
              </a:ext>
            </a:extLst>
          </p:cNvPr>
          <p:cNvGrpSpPr/>
          <p:nvPr/>
        </p:nvGrpSpPr>
        <p:grpSpPr>
          <a:xfrm>
            <a:off x="7400550" y="1974869"/>
            <a:ext cx="2173192" cy="2497922"/>
            <a:chOff x="2795088" y="2549406"/>
            <a:chExt cx="1305081" cy="1500093"/>
          </a:xfrm>
        </p:grpSpPr>
        <p:sp>
          <p:nvSpPr>
            <p:cNvPr id="11" name="Hexagon 10">
              <a:extLst>
                <a:ext uri="{FF2B5EF4-FFF2-40B4-BE49-F238E27FC236}">
                  <a16:creationId xmlns:a16="http://schemas.microsoft.com/office/drawing/2014/main" id="{1CE63550-C84E-41D8-8D14-E2EA8957F2E5}"/>
                </a:ext>
              </a:extLst>
            </p:cNvPr>
            <p:cNvSpPr/>
            <p:nvPr/>
          </p:nvSpPr>
          <p:spPr>
            <a:xfrm rot="5400000">
              <a:off x="2697582" y="2646912"/>
              <a:ext cx="1500093" cy="1305081"/>
            </a:xfrm>
            <a:prstGeom prst="hexagon">
              <a:avLst>
                <a:gd name="adj" fmla="val 25000"/>
                <a:gd name="vf" fmla="val 11547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shade val="50000"/>
                <a:hueOff val="0"/>
                <a:satOff val="-32532"/>
                <a:lumOff val="52778"/>
                <a:alphaOff val="0"/>
              </a:schemeClr>
            </a:fillRef>
            <a:effectRef idx="0">
              <a:schemeClr val="accent2">
                <a:shade val="50000"/>
                <a:hueOff val="0"/>
                <a:satOff val="-32532"/>
                <a:lumOff val="52778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Hexagon 4">
              <a:extLst>
                <a:ext uri="{FF2B5EF4-FFF2-40B4-BE49-F238E27FC236}">
                  <a16:creationId xmlns:a16="http://schemas.microsoft.com/office/drawing/2014/main" id="{AA1A3BFA-4E01-47A2-B0B1-E6042EA8DE68}"/>
                </a:ext>
              </a:extLst>
            </p:cNvPr>
            <p:cNvSpPr txBox="1"/>
            <p:nvPr/>
          </p:nvSpPr>
          <p:spPr>
            <a:xfrm>
              <a:off x="2998463" y="2783172"/>
              <a:ext cx="898331" cy="103256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kern="1200" dirty="0"/>
                <a:t>ESCO &amp; partner newsletters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9DB1838-B57A-40F9-9036-2AFFE42134A0}"/>
              </a:ext>
            </a:extLst>
          </p:cNvPr>
          <p:cNvGrpSpPr/>
          <p:nvPr/>
        </p:nvGrpSpPr>
        <p:grpSpPr>
          <a:xfrm>
            <a:off x="6259939" y="3964125"/>
            <a:ext cx="2190324" cy="2517614"/>
            <a:chOff x="1385600" y="2549406"/>
            <a:chExt cx="1305081" cy="1500093"/>
          </a:xfrm>
        </p:grpSpPr>
        <p:sp>
          <p:nvSpPr>
            <p:cNvPr id="15" name="Hexagon 14">
              <a:extLst>
                <a:ext uri="{FF2B5EF4-FFF2-40B4-BE49-F238E27FC236}">
                  <a16:creationId xmlns:a16="http://schemas.microsoft.com/office/drawing/2014/main" id="{D47786B7-43EC-4B46-A28D-08FE12BC9BE4}"/>
                </a:ext>
              </a:extLst>
            </p:cNvPr>
            <p:cNvSpPr/>
            <p:nvPr/>
          </p:nvSpPr>
          <p:spPr>
            <a:xfrm rot="5400000">
              <a:off x="1288094" y="2646912"/>
              <a:ext cx="1500093" cy="1305081"/>
            </a:xfrm>
            <a:prstGeom prst="hexagon">
              <a:avLst>
                <a:gd name="adj" fmla="val 25000"/>
                <a:gd name="vf" fmla="val 11547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shade val="50000"/>
                <a:hueOff val="0"/>
                <a:satOff val="-24399"/>
                <a:lumOff val="39583"/>
                <a:alphaOff val="0"/>
              </a:schemeClr>
            </a:fillRef>
            <a:effectRef idx="0">
              <a:schemeClr val="accent2">
                <a:shade val="50000"/>
                <a:hueOff val="0"/>
                <a:satOff val="-24399"/>
                <a:lumOff val="39583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Hexagon 4">
              <a:extLst>
                <a:ext uri="{FF2B5EF4-FFF2-40B4-BE49-F238E27FC236}">
                  <a16:creationId xmlns:a16="http://schemas.microsoft.com/office/drawing/2014/main" id="{EFF17E34-EFB9-4FD7-9DC4-172D08DD643D}"/>
                </a:ext>
              </a:extLst>
            </p:cNvPr>
            <p:cNvSpPr txBox="1"/>
            <p:nvPr/>
          </p:nvSpPr>
          <p:spPr>
            <a:xfrm>
              <a:off x="1588975" y="2783172"/>
              <a:ext cx="898331" cy="103256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000" kern="1200" dirty="0"/>
                <a:t>Social media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7EDB297-25F8-46BB-88D7-749D206903D3}"/>
              </a:ext>
            </a:extLst>
          </p:cNvPr>
          <p:cNvGrpSpPr/>
          <p:nvPr/>
        </p:nvGrpSpPr>
        <p:grpSpPr>
          <a:xfrm>
            <a:off x="6886070" y="1432689"/>
            <a:ext cx="938059" cy="1078229"/>
            <a:chOff x="1385600" y="2549406"/>
            <a:chExt cx="1305081" cy="1500093"/>
          </a:xfrm>
        </p:grpSpPr>
        <p:sp>
          <p:nvSpPr>
            <p:cNvPr id="18" name="Hexagon 17">
              <a:extLst>
                <a:ext uri="{FF2B5EF4-FFF2-40B4-BE49-F238E27FC236}">
                  <a16:creationId xmlns:a16="http://schemas.microsoft.com/office/drawing/2014/main" id="{39770BB4-8BED-41B4-8CEF-3D312F57A3E5}"/>
                </a:ext>
              </a:extLst>
            </p:cNvPr>
            <p:cNvSpPr/>
            <p:nvPr/>
          </p:nvSpPr>
          <p:spPr>
            <a:xfrm rot="5400000">
              <a:off x="1288094" y="2646912"/>
              <a:ext cx="1500093" cy="1305081"/>
            </a:xfrm>
            <a:prstGeom prst="hexagon">
              <a:avLst>
                <a:gd name="adj" fmla="val 25000"/>
                <a:gd name="vf" fmla="val 11547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shade val="50000"/>
                <a:hueOff val="0"/>
                <a:satOff val="-24399"/>
                <a:lumOff val="39583"/>
                <a:alphaOff val="0"/>
              </a:schemeClr>
            </a:fillRef>
            <a:effectRef idx="0">
              <a:schemeClr val="accent2">
                <a:shade val="50000"/>
                <a:hueOff val="0"/>
                <a:satOff val="-24399"/>
                <a:lumOff val="39583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Hexagon 4">
              <a:extLst>
                <a:ext uri="{FF2B5EF4-FFF2-40B4-BE49-F238E27FC236}">
                  <a16:creationId xmlns:a16="http://schemas.microsoft.com/office/drawing/2014/main" id="{3475CA83-260C-492D-81C0-14193D5EE531}"/>
                </a:ext>
              </a:extLst>
            </p:cNvPr>
            <p:cNvSpPr txBox="1"/>
            <p:nvPr/>
          </p:nvSpPr>
          <p:spPr>
            <a:xfrm>
              <a:off x="1588975" y="2783172"/>
              <a:ext cx="898331" cy="103256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GB" sz="3600" kern="120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FE2290C-5F0C-4940-9D4C-EC06284379E2}"/>
              </a:ext>
            </a:extLst>
          </p:cNvPr>
          <p:cNvGrpSpPr/>
          <p:nvPr/>
        </p:nvGrpSpPr>
        <p:grpSpPr>
          <a:xfrm>
            <a:off x="2981587" y="4266286"/>
            <a:ext cx="1053765" cy="1211224"/>
            <a:chOff x="1718377" y="4113376"/>
            <a:chExt cx="1053765" cy="1211224"/>
          </a:xfrm>
        </p:grpSpPr>
        <p:sp>
          <p:nvSpPr>
            <p:cNvPr id="21" name="Hexagon 20">
              <a:extLst>
                <a:ext uri="{FF2B5EF4-FFF2-40B4-BE49-F238E27FC236}">
                  <a16:creationId xmlns:a16="http://schemas.microsoft.com/office/drawing/2014/main" id="{5437D2BE-B44D-4AA6-9340-1424CD44FD58}"/>
                </a:ext>
              </a:extLst>
            </p:cNvPr>
            <p:cNvSpPr/>
            <p:nvPr/>
          </p:nvSpPr>
          <p:spPr>
            <a:xfrm rot="5400000">
              <a:off x="1639648" y="4192105"/>
              <a:ext cx="1211224" cy="1053765"/>
            </a:xfrm>
            <a:prstGeom prst="hexagon">
              <a:avLst>
                <a:gd name="adj" fmla="val 25000"/>
                <a:gd name="vf" fmla="val 11547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shade val="50000"/>
                <a:hueOff val="0"/>
                <a:satOff val="-6506"/>
                <a:lumOff val="10556"/>
                <a:alphaOff val="0"/>
              </a:schemeClr>
            </a:fillRef>
            <a:effectRef idx="0">
              <a:schemeClr val="accent2">
                <a:shade val="50000"/>
                <a:hueOff val="0"/>
                <a:satOff val="-6506"/>
                <a:lumOff val="10556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Hexagon 4">
              <a:extLst>
                <a:ext uri="{FF2B5EF4-FFF2-40B4-BE49-F238E27FC236}">
                  <a16:creationId xmlns:a16="http://schemas.microsoft.com/office/drawing/2014/main" id="{07E68614-7C20-4976-B93C-6CE7F6B9D32A}"/>
                </a:ext>
              </a:extLst>
            </p:cNvPr>
            <p:cNvSpPr txBox="1"/>
            <p:nvPr/>
          </p:nvSpPr>
          <p:spPr>
            <a:xfrm>
              <a:off x="1882589" y="4302125"/>
              <a:ext cx="725341" cy="8337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GB" sz="3600" kern="120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A7B6EA5-2394-46DD-BDBB-9FAE8956D833}"/>
              </a:ext>
            </a:extLst>
          </p:cNvPr>
          <p:cNvGrpSpPr/>
          <p:nvPr/>
        </p:nvGrpSpPr>
        <p:grpSpPr>
          <a:xfrm>
            <a:off x="8485120" y="4256441"/>
            <a:ext cx="1053765" cy="1211224"/>
            <a:chOff x="1718377" y="2057201"/>
            <a:chExt cx="1053765" cy="1211224"/>
          </a:xfrm>
        </p:grpSpPr>
        <p:sp>
          <p:nvSpPr>
            <p:cNvPr id="24" name="Hexagon 23">
              <a:extLst>
                <a:ext uri="{FF2B5EF4-FFF2-40B4-BE49-F238E27FC236}">
                  <a16:creationId xmlns:a16="http://schemas.microsoft.com/office/drawing/2014/main" id="{F6909843-9709-4794-B63E-161BF1EE9A5A}"/>
                </a:ext>
              </a:extLst>
            </p:cNvPr>
            <p:cNvSpPr/>
            <p:nvPr/>
          </p:nvSpPr>
          <p:spPr>
            <a:xfrm rot="5400000">
              <a:off x="1639648" y="2135930"/>
              <a:ext cx="1211224" cy="1053765"/>
            </a:xfrm>
            <a:prstGeom prst="hexagon">
              <a:avLst>
                <a:gd name="adj" fmla="val 25000"/>
                <a:gd name="vf" fmla="val 11547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shade val="50000"/>
                <a:hueOff val="0"/>
                <a:satOff val="-32532"/>
                <a:lumOff val="52778"/>
                <a:alphaOff val="0"/>
              </a:schemeClr>
            </a:fillRef>
            <a:effectRef idx="0">
              <a:schemeClr val="accent2">
                <a:shade val="50000"/>
                <a:hueOff val="0"/>
                <a:satOff val="-32532"/>
                <a:lumOff val="52778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Hexagon 4">
              <a:extLst>
                <a:ext uri="{FF2B5EF4-FFF2-40B4-BE49-F238E27FC236}">
                  <a16:creationId xmlns:a16="http://schemas.microsoft.com/office/drawing/2014/main" id="{0E3B3D0D-55B5-459A-A3CF-FBA1944D4D49}"/>
                </a:ext>
              </a:extLst>
            </p:cNvPr>
            <p:cNvSpPr txBox="1"/>
            <p:nvPr/>
          </p:nvSpPr>
          <p:spPr>
            <a:xfrm>
              <a:off x="1882589" y="2245950"/>
              <a:ext cx="725341" cy="8337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GB" sz="3600" kern="1200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A4AEB78-A92F-4DAD-A2A1-1B2A01C1D5D1}"/>
              </a:ext>
            </a:extLst>
          </p:cNvPr>
          <p:cNvGrpSpPr/>
          <p:nvPr/>
        </p:nvGrpSpPr>
        <p:grpSpPr>
          <a:xfrm>
            <a:off x="2927528" y="1978049"/>
            <a:ext cx="2190323" cy="2517612"/>
            <a:chOff x="2795088" y="2846"/>
            <a:chExt cx="1305081" cy="1500093"/>
          </a:xfrm>
        </p:grpSpPr>
        <p:sp>
          <p:nvSpPr>
            <p:cNvPr id="27" name="Hexagon 26">
              <a:extLst>
                <a:ext uri="{FF2B5EF4-FFF2-40B4-BE49-F238E27FC236}">
                  <a16:creationId xmlns:a16="http://schemas.microsoft.com/office/drawing/2014/main" id="{42207352-612E-4139-A7BE-777073379975}"/>
                </a:ext>
              </a:extLst>
            </p:cNvPr>
            <p:cNvSpPr/>
            <p:nvPr/>
          </p:nvSpPr>
          <p:spPr>
            <a:xfrm rot="5400000">
              <a:off x="2697582" y="100352"/>
              <a:ext cx="1500093" cy="1305081"/>
            </a:xfrm>
            <a:prstGeom prst="hexagon">
              <a:avLst>
                <a:gd name="adj" fmla="val 25000"/>
                <a:gd name="vf" fmla="val 11547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shade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Hexagon 4">
              <a:extLst>
                <a:ext uri="{FF2B5EF4-FFF2-40B4-BE49-F238E27FC236}">
                  <a16:creationId xmlns:a16="http://schemas.microsoft.com/office/drawing/2014/main" id="{48913661-28D7-4FBC-8322-CC4E538E50E9}"/>
                </a:ext>
              </a:extLst>
            </p:cNvPr>
            <p:cNvSpPr txBox="1"/>
            <p:nvPr/>
          </p:nvSpPr>
          <p:spPr>
            <a:xfrm>
              <a:off x="2904138" y="236612"/>
              <a:ext cx="1086980" cy="103256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400" kern="1200" dirty="0"/>
                <a:t>ESCO v1.1 publi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90482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"/>
            <a:ext cx="12192000" cy="6857999"/>
          </a:xfrm>
        </p:spPr>
      </p:pic>
    </p:spTree>
    <p:extLst>
      <p:ext uri="{BB962C8B-B14F-4D97-AF65-F5344CB8AC3E}">
        <p14:creationId xmlns:p14="http://schemas.microsoft.com/office/powerpoint/2010/main" val="7358971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79027"/>
            <a:ext cx="10972800" cy="936625"/>
          </a:xfrm>
        </p:spPr>
        <p:txBody>
          <a:bodyPr wrap="square" anchor="ctr">
            <a:normAutofit/>
          </a:bodyPr>
          <a:lstStyle/>
          <a:p>
            <a:r>
              <a:rPr lang="fr-BE" dirty="0"/>
              <a:t>Objectives of ESCO version 1.1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4950" y="1965373"/>
            <a:ext cx="6397450" cy="3633788"/>
          </a:xfrm>
        </p:spPr>
        <p:txBody>
          <a:bodyPr wrap="square" anchor="t">
            <a:normAutofit lnSpcReduction="10000"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-GB" sz="1800" b="1" i="0" dirty="0"/>
              <a:t>Changes in the labour market</a:t>
            </a:r>
            <a:r>
              <a:rPr lang="en-GB" sz="1800" i="0" dirty="0"/>
              <a:t>: new &amp; obsolete occupations, changing nature</a:t>
            </a:r>
          </a:p>
          <a:p>
            <a:pPr marL="0" indent="0">
              <a:lnSpc>
                <a:spcPct val="90000"/>
              </a:lnSpc>
              <a:buNone/>
            </a:pPr>
            <a:endParaRPr lang="en-IE" sz="1800" i="0" dirty="0"/>
          </a:p>
          <a:p>
            <a:pPr marL="0" indent="0">
              <a:lnSpc>
                <a:spcPct val="90000"/>
              </a:lnSpc>
              <a:buNone/>
            </a:pPr>
            <a:r>
              <a:rPr lang="en-GB" sz="1800" b="1" i="0" dirty="0"/>
              <a:t>Changes in curricula</a:t>
            </a:r>
            <a:r>
              <a:rPr lang="en-GB" sz="1800" i="0" dirty="0"/>
              <a:t>: new knowledge and skills in education-training</a:t>
            </a:r>
          </a:p>
          <a:p>
            <a:pPr marL="0" indent="0">
              <a:lnSpc>
                <a:spcPct val="90000"/>
              </a:lnSpc>
              <a:buNone/>
            </a:pPr>
            <a:endParaRPr lang="en-GB" sz="1800" i="0" dirty="0"/>
          </a:p>
          <a:p>
            <a:pPr marL="0" indent="0">
              <a:lnSpc>
                <a:spcPct val="90000"/>
              </a:lnSpc>
              <a:buNone/>
            </a:pPr>
            <a:r>
              <a:rPr lang="en-GB" sz="1800" b="1" i="0" dirty="0"/>
              <a:t>Changes in terminology</a:t>
            </a:r>
            <a:r>
              <a:rPr lang="en-GB" sz="1800" i="0" dirty="0"/>
              <a:t>: changes in terms referring to occupations and skills</a:t>
            </a:r>
          </a:p>
          <a:p>
            <a:pPr marL="0" indent="0">
              <a:lnSpc>
                <a:spcPct val="90000"/>
              </a:lnSpc>
              <a:buNone/>
            </a:pPr>
            <a:endParaRPr lang="en-GB" sz="1800" i="0" dirty="0"/>
          </a:p>
          <a:p>
            <a:pPr marL="0" indent="0">
              <a:lnSpc>
                <a:spcPct val="90000"/>
              </a:lnSpc>
              <a:buNone/>
            </a:pPr>
            <a:r>
              <a:rPr lang="en-GB" sz="1800" b="1" i="0" dirty="0"/>
              <a:t>Changes in requirements </a:t>
            </a:r>
            <a:r>
              <a:rPr lang="en-GB" sz="1800" i="0" dirty="0"/>
              <a:t>by implementers and technological development</a:t>
            </a:r>
          </a:p>
          <a:p>
            <a:pPr marL="0" indent="0">
              <a:lnSpc>
                <a:spcPct val="90000"/>
              </a:lnSpc>
              <a:buNone/>
            </a:pPr>
            <a:endParaRPr lang="en-GB" sz="1800" i="0" dirty="0"/>
          </a:p>
          <a:p>
            <a:pPr marL="0" indent="0">
              <a:lnSpc>
                <a:spcPct val="90000"/>
              </a:lnSpc>
              <a:buNone/>
            </a:pPr>
            <a:r>
              <a:rPr lang="en-GB" sz="1800" b="1" i="0" dirty="0"/>
              <a:t>Opportunity to correct identified mistakes</a:t>
            </a:r>
            <a:r>
              <a:rPr lang="en-GB" sz="1800" i="0" dirty="0"/>
              <a:t>: misspellings or wrong metadata</a:t>
            </a:r>
          </a:p>
          <a:p>
            <a:pPr marL="0" indent="0">
              <a:lnSpc>
                <a:spcPct val="90000"/>
              </a:lnSpc>
              <a:buNone/>
            </a:pPr>
            <a:endParaRPr lang="en-US" sz="1800" i="0" dirty="0"/>
          </a:p>
        </p:txBody>
      </p:sp>
      <p:pic>
        <p:nvPicPr>
          <p:cNvPr id="5" name="Graphic 4" descr="Continuous Improvement with solid fill">
            <a:extLst>
              <a:ext uri="{FF2B5EF4-FFF2-40B4-BE49-F238E27FC236}">
                <a16:creationId xmlns:a16="http://schemas.microsoft.com/office/drawing/2014/main" id="{86431CEE-E7A7-44F2-A756-2902704ECF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04465" y="1987524"/>
            <a:ext cx="2433751" cy="243375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310556A-0406-4996-92BB-90A2629722FA}"/>
              </a:ext>
            </a:extLst>
          </p:cNvPr>
          <p:cNvSpPr txBox="1"/>
          <p:nvPr/>
        </p:nvSpPr>
        <p:spPr>
          <a:xfrm>
            <a:off x="609601" y="4097677"/>
            <a:ext cx="42234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0" dirty="0">
                <a:solidFill>
                  <a:srgbClr val="0F5494"/>
                </a:solidFill>
              </a:rPr>
              <a:t>Supporting continuous change</a:t>
            </a:r>
          </a:p>
        </p:txBody>
      </p:sp>
    </p:spTree>
    <p:extLst>
      <p:ext uri="{BB962C8B-B14F-4D97-AF65-F5344CB8AC3E}">
        <p14:creationId xmlns:p14="http://schemas.microsoft.com/office/powerpoint/2010/main" val="11028272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-4121"/>
            <a:ext cx="12192000" cy="7271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52059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79027"/>
            <a:ext cx="10972800" cy="936625"/>
          </a:xfrm>
        </p:spPr>
        <p:txBody>
          <a:bodyPr wrap="square" anchor="ctr">
            <a:normAutofit/>
          </a:bodyPr>
          <a:lstStyle/>
          <a:p>
            <a:r>
              <a:rPr lang="fr-BE" dirty="0" err="1"/>
              <a:t>Specific</a:t>
            </a:r>
            <a:r>
              <a:rPr lang="fr-BE" dirty="0"/>
              <a:t> focus of ESCO version 1.1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9360" y="2260605"/>
            <a:ext cx="6273520" cy="3929180"/>
          </a:xfrm>
        </p:spPr>
        <p:txBody>
          <a:bodyPr wrap="square" anchor="t">
            <a:normAutofit lnSpcReduction="10000"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-GB" sz="1800" i="0" dirty="0"/>
              <a:t>Identification of a </a:t>
            </a:r>
            <a:r>
              <a:rPr lang="en-GB" sz="1800" b="1" i="0" dirty="0"/>
              <a:t>taxonomy of skills for the green economy</a:t>
            </a:r>
          </a:p>
          <a:p>
            <a:pPr marL="0" indent="0">
              <a:lnSpc>
                <a:spcPct val="90000"/>
              </a:lnSpc>
              <a:buNone/>
            </a:pPr>
            <a:endParaRPr lang="en-GB" sz="1800" b="1" i="0" dirty="0"/>
          </a:p>
          <a:p>
            <a:pPr marL="0" indent="0">
              <a:lnSpc>
                <a:spcPct val="90000"/>
              </a:lnSpc>
              <a:buNone/>
            </a:pPr>
            <a:r>
              <a:rPr lang="en-GB" sz="1800" b="1" i="0" dirty="0"/>
              <a:t>109 new concepts related to digital technologies</a:t>
            </a:r>
            <a:endParaRPr lang="en-GB" sz="1800" i="0" dirty="0"/>
          </a:p>
          <a:p>
            <a:pPr marL="0" indent="0">
              <a:lnSpc>
                <a:spcPct val="90000"/>
              </a:lnSpc>
              <a:buNone/>
            </a:pPr>
            <a:endParaRPr lang="en-IE" sz="600" i="0" dirty="0"/>
          </a:p>
          <a:p>
            <a:pPr marL="0" indent="0">
              <a:lnSpc>
                <a:spcPct val="90000"/>
              </a:lnSpc>
              <a:buNone/>
            </a:pPr>
            <a:endParaRPr lang="en-IE" sz="1600" i="0" dirty="0"/>
          </a:p>
          <a:p>
            <a:pPr marL="0" indent="0">
              <a:lnSpc>
                <a:spcPct val="90000"/>
              </a:lnSpc>
              <a:buNone/>
            </a:pPr>
            <a:r>
              <a:rPr lang="en-IE" sz="1800" i="0" dirty="0"/>
              <a:t>Focus on </a:t>
            </a:r>
            <a:r>
              <a:rPr lang="en-IE" sz="1800" b="1" i="0" dirty="0"/>
              <a:t>occupations and skills for researchers</a:t>
            </a:r>
          </a:p>
          <a:p>
            <a:pPr marL="0" indent="0">
              <a:lnSpc>
                <a:spcPct val="90000"/>
              </a:lnSpc>
              <a:buNone/>
            </a:pPr>
            <a:endParaRPr lang="en-IE" sz="2800" i="0" dirty="0"/>
          </a:p>
          <a:p>
            <a:pPr marL="0" indent="0">
              <a:lnSpc>
                <a:spcPct val="90000"/>
              </a:lnSpc>
              <a:buNone/>
            </a:pPr>
            <a:r>
              <a:rPr lang="en-GB" sz="1800" b="1" i="0" dirty="0"/>
              <a:t>New model for transversal skills and competences</a:t>
            </a:r>
            <a:endParaRPr lang="en-GB" sz="1800" i="0" dirty="0"/>
          </a:p>
          <a:p>
            <a:pPr marL="0" indent="0">
              <a:lnSpc>
                <a:spcPct val="90000"/>
              </a:lnSpc>
              <a:buNone/>
            </a:pPr>
            <a:endParaRPr lang="en-GB" sz="1200" i="0" dirty="0"/>
          </a:p>
          <a:p>
            <a:pPr marL="0" indent="0">
              <a:lnSpc>
                <a:spcPct val="90000"/>
              </a:lnSpc>
              <a:buNone/>
            </a:pPr>
            <a:r>
              <a:rPr lang="en-GB" sz="1800" i="0" dirty="0"/>
              <a:t>Application of </a:t>
            </a:r>
            <a:r>
              <a:rPr lang="en-GB" sz="1800" b="1" i="0" dirty="0"/>
              <a:t>artificial intelligence to improve efficiency of the continuous improvement process</a:t>
            </a:r>
            <a:endParaRPr lang="en-GB" sz="1800" i="0" dirty="0"/>
          </a:p>
          <a:p>
            <a:pPr marL="0" indent="0">
              <a:lnSpc>
                <a:spcPct val="90000"/>
              </a:lnSpc>
              <a:buNone/>
            </a:pPr>
            <a:endParaRPr lang="en-US" sz="1800" i="0" dirty="0"/>
          </a:p>
        </p:txBody>
      </p:sp>
      <p:pic>
        <p:nvPicPr>
          <p:cNvPr id="7" name="Graphic 6" descr="Renewable Energy outline">
            <a:extLst>
              <a:ext uri="{FF2B5EF4-FFF2-40B4-BE49-F238E27FC236}">
                <a16:creationId xmlns:a16="http://schemas.microsoft.com/office/drawing/2014/main" id="{F209C2AF-3083-462B-BACE-427DD8A0A4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35156" y="2138312"/>
            <a:ext cx="690947" cy="690947"/>
          </a:xfrm>
          <a:prstGeom prst="rect">
            <a:avLst/>
          </a:prstGeom>
        </p:spPr>
      </p:pic>
      <p:pic>
        <p:nvPicPr>
          <p:cNvPr id="9" name="Graphic 8" descr="Plug outline">
            <a:extLst>
              <a:ext uri="{FF2B5EF4-FFF2-40B4-BE49-F238E27FC236}">
                <a16:creationId xmlns:a16="http://schemas.microsoft.com/office/drawing/2014/main" id="{21D6AB70-7CF9-4208-9423-8737A42CEF2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35156" y="2904527"/>
            <a:ext cx="690947" cy="690947"/>
          </a:xfrm>
          <a:prstGeom prst="rect">
            <a:avLst/>
          </a:prstGeom>
        </p:spPr>
      </p:pic>
      <p:pic>
        <p:nvPicPr>
          <p:cNvPr id="11" name="Graphic 10" descr="Network outline">
            <a:extLst>
              <a:ext uri="{FF2B5EF4-FFF2-40B4-BE49-F238E27FC236}">
                <a16:creationId xmlns:a16="http://schemas.microsoft.com/office/drawing/2014/main" id="{5EFC852B-214B-49DA-BF4D-42659B1C4F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35156" y="4436957"/>
            <a:ext cx="690947" cy="690947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AA64394-F65C-4BE9-8C48-A2F1C0130AE5}"/>
              </a:ext>
            </a:extLst>
          </p:cNvPr>
          <p:cNvSpPr txBox="1">
            <a:spLocks/>
          </p:cNvSpPr>
          <p:nvPr/>
        </p:nvSpPr>
        <p:spPr bwMode="auto">
          <a:xfrm>
            <a:off x="298105" y="2391229"/>
            <a:ext cx="4136571" cy="3633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F5494"/>
              </a:buClr>
              <a:buFont typeface="Arial" pitchFamily="34" charset="0"/>
              <a:buChar char="•"/>
              <a:defRPr sz="2400" i="1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F5494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90000"/>
              </a:lnSpc>
              <a:spcAft>
                <a:spcPts val="600"/>
              </a:spcAft>
              <a:buFont typeface="Arial" pitchFamily="34" charset="0"/>
              <a:buNone/>
            </a:pPr>
            <a:r>
              <a:rPr lang="en-GB" sz="1800" b="1" i="0" kern="0" dirty="0"/>
              <a:t>Green transition</a:t>
            </a:r>
            <a:endParaRPr lang="en-GB" sz="1800" i="0" kern="0" dirty="0"/>
          </a:p>
          <a:p>
            <a:pPr marL="0" indent="0" algn="r">
              <a:lnSpc>
                <a:spcPct val="90000"/>
              </a:lnSpc>
              <a:spcAft>
                <a:spcPts val="600"/>
              </a:spcAft>
              <a:buFont typeface="Arial" pitchFamily="34" charset="0"/>
              <a:buNone/>
            </a:pPr>
            <a:endParaRPr lang="en-IE" sz="1800" i="0" kern="0" dirty="0"/>
          </a:p>
          <a:p>
            <a:pPr marL="0" indent="0" algn="r">
              <a:lnSpc>
                <a:spcPct val="90000"/>
              </a:lnSpc>
              <a:spcAft>
                <a:spcPts val="600"/>
              </a:spcAft>
              <a:buFont typeface="Arial" pitchFamily="34" charset="0"/>
              <a:buNone/>
            </a:pPr>
            <a:r>
              <a:rPr lang="en-GB" sz="1800" b="1" i="0" kern="0" dirty="0"/>
              <a:t>Digital transition</a:t>
            </a:r>
            <a:endParaRPr lang="en-GB" sz="1800" i="0" kern="0" dirty="0"/>
          </a:p>
          <a:p>
            <a:pPr marL="0" indent="0" algn="r">
              <a:lnSpc>
                <a:spcPct val="90000"/>
              </a:lnSpc>
              <a:spcAft>
                <a:spcPts val="600"/>
              </a:spcAft>
              <a:buFont typeface="Arial" pitchFamily="34" charset="0"/>
              <a:buNone/>
            </a:pPr>
            <a:endParaRPr lang="en-GB" sz="1800" i="0" kern="0" dirty="0"/>
          </a:p>
          <a:p>
            <a:pPr marL="0" indent="0" algn="r">
              <a:lnSpc>
                <a:spcPct val="90000"/>
              </a:lnSpc>
              <a:spcAft>
                <a:spcPts val="600"/>
              </a:spcAft>
              <a:buFont typeface="Arial" pitchFamily="34" charset="0"/>
              <a:buNone/>
            </a:pPr>
            <a:r>
              <a:rPr lang="en-GB" sz="1800" b="1" i="0" kern="0" dirty="0"/>
              <a:t>Emerging technologies</a:t>
            </a:r>
          </a:p>
          <a:p>
            <a:pPr marL="0" indent="0" algn="r">
              <a:lnSpc>
                <a:spcPct val="90000"/>
              </a:lnSpc>
              <a:spcAft>
                <a:spcPts val="600"/>
              </a:spcAft>
              <a:buFont typeface="Arial" pitchFamily="34" charset="0"/>
              <a:buNone/>
            </a:pPr>
            <a:endParaRPr lang="en-GB" sz="1800" b="1" i="0" kern="0" dirty="0"/>
          </a:p>
          <a:p>
            <a:pPr marL="0" indent="0" algn="r">
              <a:lnSpc>
                <a:spcPct val="90000"/>
              </a:lnSpc>
              <a:spcAft>
                <a:spcPts val="600"/>
              </a:spcAft>
              <a:buFont typeface="Arial" pitchFamily="34" charset="0"/>
              <a:buNone/>
            </a:pPr>
            <a:r>
              <a:rPr lang="en-GB" sz="1800" b="1" i="0" kern="0" dirty="0"/>
              <a:t>Increasing importance of transversal skills</a:t>
            </a:r>
          </a:p>
          <a:p>
            <a:pPr marL="0" indent="0" algn="r">
              <a:lnSpc>
                <a:spcPct val="90000"/>
              </a:lnSpc>
              <a:spcAft>
                <a:spcPts val="600"/>
              </a:spcAft>
              <a:buFont typeface="Arial" pitchFamily="34" charset="0"/>
              <a:buNone/>
            </a:pPr>
            <a:endParaRPr lang="en-GB" sz="1800" b="1" i="0" kern="0" dirty="0"/>
          </a:p>
          <a:p>
            <a:pPr marL="0" indent="0" algn="r">
              <a:lnSpc>
                <a:spcPct val="90000"/>
              </a:lnSpc>
              <a:spcAft>
                <a:spcPts val="600"/>
              </a:spcAft>
              <a:buFont typeface="Arial" pitchFamily="34" charset="0"/>
              <a:buNone/>
            </a:pPr>
            <a:r>
              <a:rPr lang="en-GB" sz="1800" b="1" i="0" kern="0" dirty="0"/>
              <a:t>Artificial intelligence</a:t>
            </a:r>
          </a:p>
          <a:p>
            <a:pPr marL="0" indent="0" algn="r">
              <a:lnSpc>
                <a:spcPct val="90000"/>
              </a:lnSpc>
              <a:spcAft>
                <a:spcPts val="600"/>
              </a:spcAft>
              <a:buFont typeface="Arial" pitchFamily="34" charset="0"/>
              <a:buNone/>
            </a:pPr>
            <a:endParaRPr lang="en-US" sz="1800" i="0" kern="0" dirty="0"/>
          </a:p>
        </p:txBody>
      </p:sp>
      <p:pic>
        <p:nvPicPr>
          <p:cNvPr id="14" name="Graphic 13" descr="Artificial Intelligence outline">
            <a:extLst>
              <a:ext uri="{FF2B5EF4-FFF2-40B4-BE49-F238E27FC236}">
                <a16:creationId xmlns:a16="http://schemas.microsoft.com/office/drawing/2014/main" id="{33BBBFF8-9D32-449B-87B1-458AE93CF8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35156" y="5203173"/>
            <a:ext cx="690947" cy="690947"/>
          </a:xfrm>
          <a:prstGeom prst="rect">
            <a:avLst/>
          </a:prstGeom>
        </p:spPr>
      </p:pic>
      <p:pic>
        <p:nvPicPr>
          <p:cNvPr id="16" name="Graphic 15" descr="Wind Turbines outline">
            <a:extLst>
              <a:ext uri="{FF2B5EF4-FFF2-40B4-BE49-F238E27FC236}">
                <a16:creationId xmlns:a16="http://schemas.microsoft.com/office/drawing/2014/main" id="{60960D26-312D-4C2F-803D-FDE6761CFAE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535156" y="3670742"/>
            <a:ext cx="690947" cy="690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6458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625D517-0787-4E18-9C87-AAD145EC18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A new framework for transversal skills and competences</a:t>
            </a:r>
          </a:p>
        </p:txBody>
      </p:sp>
    </p:spTree>
    <p:extLst>
      <p:ext uri="{BB962C8B-B14F-4D97-AF65-F5344CB8AC3E}">
        <p14:creationId xmlns:p14="http://schemas.microsoft.com/office/powerpoint/2010/main" val="36308182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">
            <a:extLst>
              <a:ext uri="{FF2B5EF4-FFF2-40B4-BE49-F238E27FC236}">
                <a16:creationId xmlns:a16="http://schemas.microsoft.com/office/drawing/2014/main" id="{6469D46F-E5C9-4956-9989-A1D59F50AF2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84"/>
          <a:stretch/>
        </p:blipFill>
        <p:spPr bwMode="auto">
          <a:xfrm>
            <a:off x="6801075" y="1272400"/>
            <a:ext cx="5390925" cy="4702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2AD8FF34-0ADF-4997-9FAB-35E4E7DDA0DF}"/>
              </a:ext>
            </a:extLst>
          </p:cNvPr>
          <p:cNvSpPr txBox="1">
            <a:spLocks/>
          </p:cNvSpPr>
          <p:nvPr/>
        </p:nvSpPr>
        <p:spPr bwMode="auto">
          <a:xfrm>
            <a:off x="609600" y="479027"/>
            <a:ext cx="109728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kern="0" dirty="0"/>
              <a:t>New transversal skills framework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10BA53B7-9803-47B6-9433-81C6B748F3B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4879537"/>
              </p:ext>
            </p:extLst>
          </p:nvPr>
        </p:nvGraphicFramePr>
        <p:xfrm>
          <a:off x="684991" y="1814661"/>
          <a:ext cx="5523188" cy="41206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" name="Graphic 3" descr="Checklist outline">
            <a:extLst>
              <a:ext uri="{FF2B5EF4-FFF2-40B4-BE49-F238E27FC236}">
                <a16:creationId xmlns:a16="http://schemas.microsoft.com/office/drawing/2014/main" id="{46817140-A451-4AD2-BDDD-72ADF527D1C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2350" y="4184157"/>
            <a:ext cx="625212" cy="625212"/>
          </a:xfrm>
          <a:prstGeom prst="rect">
            <a:avLst/>
          </a:prstGeom>
        </p:spPr>
      </p:pic>
      <p:pic>
        <p:nvPicPr>
          <p:cNvPr id="6" name="Graphic 5" descr="Hierarchy outline">
            <a:extLst>
              <a:ext uri="{FF2B5EF4-FFF2-40B4-BE49-F238E27FC236}">
                <a16:creationId xmlns:a16="http://schemas.microsoft.com/office/drawing/2014/main" id="{83A48267-4813-4ED7-921B-DB53C1F4F5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8698" y="5198330"/>
            <a:ext cx="457200" cy="457200"/>
          </a:xfrm>
          <a:prstGeom prst="rect">
            <a:avLst/>
          </a:prstGeom>
        </p:spPr>
      </p:pic>
      <p:pic>
        <p:nvPicPr>
          <p:cNvPr id="8" name="Graphic 7" descr="Magnifying glass outline">
            <a:extLst>
              <a:ext uri="{FF2B5EF4-FFF2-40B4-BE49-F238E27FC236}">
                <a16:creationId xmlns:a16="http://schemas.microsoft.com/office/drawing/2014/main" id="{38B99EFC-629C-4EF1-9708-E15C1C22923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17322" y="3214956"/>
            <a:ext cx="580240" cy="580240"/>
          </a:xfrm>
          <a:prstGeom prst="rect">
            <a:avLst/>
          </a:prstGeom>
        </p:spPr>
      </p:pic>
      <p:pic>
        <p:nvPicPr>
          <p:cNvPr id="19" name="Graphic 18" descr="Document outline">
            <a:extLst>
              <a:ext uri="{FF2B5EF4-FFF2-40B4-BE49-F238E27FC236}">
                <a16:creationId xmlns:a16="http://schemas.microsoft.com/office/drawing/2014/main" id="{34163454-F385-4804-AA7B-E7B71028B2B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87178" y="2180494"/>
            <a:ext cx="580240" cy="580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4965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2AD8FF34-0ADF-4997-9FAB-35E4E7DDA0DF}"/>
              </a:ext>
            </a:extLst>
          </p:cNvPr>
          <p:cNvSpPr txBox="1">
            <a:spLocks/>
          </p:cNvSpPr>
          <p:nvPr/>
        </p:nvSpPr>
        <p:spPr bwMode="auto">
          <a:xfrm>
            <a:off x="609600" y="479027"/>
            <a:ext cx="109728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kern="0" dirty="0"/>
              <a:t>Integrating the new transversal skills framework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00A8B61-4E7C-4591-80AE-E93E8BE591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697" y="1468406"/>
            <a:ext cx="2309060" cy="4580017"/>
          </a:xfrm>
          <a:prstGeom prst="rect">
            <a:avLst/>
          </a:prstGeom>
        </p:spPr>
      </p:pic>
      <p:sp>
        <p:nvSpPr>
          <p:cNvPr id="7" name="Right Brace 6">
            <a:extLst>
              <a:ext uri="{FF2B5EF4-FFF2-40B4-BE49-F238E27FC236}">
                <a16:creationId xmlns:a16="http://schemas.microsoft.com/office/drawing/2014/main" id="{DEC39D75-EA93-4596-B936-FC89C449B79A}"/>
              </a:ext>
            </a:extLst>
          </p:cNvPr>
          <p:cNvSpPr/>
          <p:nvPr/>
        </p:nvSpPr>
        <p:spPr bwMode="auto">
          <a:xfrm>
            <a:off x="2743200" y="1818752"/>
            <a:ext cx="813916" cy="3570842"/>
          </a:xfrm>
          <a:prstGeom prst="rightBrace">
            <a:avLst>
              <a:gd name="adj1" fmla="val 41666"/>
              <a:gd name="adj2" fmla="val 24955"/>
            </a:avLst>
          </a:prstGeom>
          <a:ln w="28575"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7600" b="1" i="0" u="none" strike="noStrike" cap="none" normalizeH="0" baseline="0">
              <a:ln>
                <a:noFill/>
              </a:ln>
              <a:solidFill>
                <a:srgbClr val="FFD624"/>
              </a:solidFill>
              <a:effectLst/>
              <a:latin typeface="Verdana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7F670AA-8641-49E9-94D3-794ACF4EAE25}"/>
              </a:ext>
            </a:extLst>
          </p:cNvPr>
          <p:cNvSpPr txBox="1"/>
          <p:nvPr/>
        </p:nvSpPr>
        <p:spPr>
          <a:xfrm>
            <a:off x="3645316" y="2491992"/>
            <a:ext cx="7845619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0" dirty="0">
                <a:solidFill>
                  <a:srgbClr val="0F5494"/>
                </a:solidFill>
              </a:rPr>
              <a:t>Replacing </a:t>
            </a:r>
            <a:r>
              <a:rPr lang="en-GB" sz="2000" b="1" dirty="0">
                <a:solidFill>
                  <a:srgbClr val="0F5494"/>
                </a:solidFill>
              </a:rPr>
              <a:t>attitudes and values </a:t>
            </a:r>
            <a:r>
              <a:rPr lang="en-GB" sz="2000" b="0" dirty="0">
                <a:solidFill>
                  <a:srgbClr val="0F5494"/>
                </a:solidFill>
              </a:rPr>
              <a:t>in the skills hierarchy</a:t>
            </a:r>
          </a:p>
          <a:p>
            <a:endParaRPr lang="en-GB" sz="2000" dirty="0">
              <a:solidFill>
                <a:srgbClr val="0F5494"/>
              </a:solidFill>
            </a:endParaRPr>
          </a:p>
          <a:p>
            <a:endParaRPr lang="en-GB" sz="2000" dirty="0">
              <a:solidFill>
                <a:srgbClr val="0F5494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b="0" dirty="0">
              <a:solidFill>
                <a:srgbClr val="0F5494"/>
              </a:solidFill>
            </a:endParaRPr>
          </a:p>
          <a:p>
            <a:pPr marL="803275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F5494"/>
                </a:solidFill>
              </a:rPr>
              <a:t>“</a:t>
            </a:r>
            <a:r>
              <a:rPr lang="en-GB" b="1" dirty="0">
                <a:solidFill>
                  <a:srgbClr val="0F5494"/>
                </a:solidFill>
              </a:rPr>
              <a:t>Language skills and knowledge</a:t>
            </a:r>
            <a:r>
              <a:rPr lang="en-GB" dirty="0">
                <a:solidFill>
                  <a:srgbClr val="0F5494"/>
                </a:solidFill>
              </a:rPr>
              <a:t>” remains</a:t>
            </a:r>
          </a:p>
          <a:p>
            <a:pPr marL="803275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0F5494"/>
                </a:solidFill>
              </a:rPr>
              <a:t>Existing transversal skills </a:t>
            </a:r>
            <a:r>
              <a:rPr lang="en-GB" b="0" dirty="0">
                <a:solidFill>
                  <a:srgbClr val="0F5494"/>
                </a:solidFill>
              </a:rPr>
              <a:t>are reused, removed, </a:t>
            </a:r>
            <a:br>
              <a:rPr lang="en-GB" b="0" dirty="0">
                <a:solidFill>
                  <a:srgbClr val="0F5494"/>
                </a:solidFill>
              </a:rPr>
            </a:br>
            <a:r>
              <a:rPr lang="en-GB" b="0" dirty="0">
                <a:solidFill>
                  <a:srgbClr val="0F5494"/>
                </a:solidFill>
              </a:rPr>
              <a:t>or transformed to cross-sectoral skills</a:t>
            </a:r>
            <a:endParaRPr lang="en-GB" dirty="0">
              <a:solidFill>
                <a:srgbClr val="0F5494"/>
              </a:solidFill>
            </a:endParaRPr>
          </a:p>
          <a:p>
            <a:pPr marL="803275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0F5494"/>
                </a:solidFill>
              </a:rPr>
              <a:t>Cross-sectoral skills </a:t>
            </a:r>
            <a:r>
              <a:rPr lang="en-GB" dirty="0">
                <a:solidFill>
                  <a:srgbClr val="0F5494"/>
                </a:solidFill>
              </a:rPr>
              <a:t>are linked to occupations</a:t>
            </a:r>
          </a:p>
          <a:p>
            <a:pPr marL="803275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b="0" dirty="0">
                <a:solidFill>
                  <a:srgbClr val="0F5494"/>
                </a:solidFill>
              </a:rPr>
              <a:t>New transversal skills are </a:t>
            </a:r>
            <a:r>
              <a:rPr lang="en-GB" b="1" dirty="0">
                <a:solidFill>
                  <a:srgbClr val="0F5494"/>
                </a:solidFill>
              </a:rPr>
              <a:t>contextualised</a:t>
            </a: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EF706239-72E4-41DE-B6CE-036A77FA77D2}"/>
              </a:ext>
            </a:extLst>
          </p:cNvPr>
          <p:cNvSpPr/>
          <p:nvPr/>
        </p:nvSpPr>
        <p:spPr>
          <a:xfrm rot="5400000">
            <a:off x="7306631" y="641612"/>
            <a:ext cx="205991" cy="5574775"/>
          </a:xfrm>
          <a:prstGeom prst="homePlate">
            <a:avLst>
              <a:gd name="adj" fmla="val 100000"/>
            </a:avLst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GB" sz="1800" b="0"/>
          </a:p>
        </p:txBody>
      </p:sp>
    </p:spTree>
    <p:extLst>
      <p:ext uri="{BB962C8B-B14F-4D97-AF65-F5344CB8AC3E}">
        <p14:creationId xmlns:p14="http://schemas.microsoft.com/office/powerpoint/2010/main" val="30040958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625D517-0787-4E18-9C87-AAD145EC18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Defining a taxonomy of skills for the green transition</a:t>
            </a:r>
          </a:p>
        </p:txBody>
      </p:sp>
    </p:spTree>
    <p:extLst>
      <p:ext uri="{BB962C8B-B14F-4D97-AF65-F5344CB8AC3E}">
        <p14:creationId xmlns:p14="http://schemas.microsoft.com/office/powerpoint/2010/main" val="1058647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2AD8FF34-0ADF-4997-9FAB-35E4E7DDA0DF}"/>
              </a:ext>
            </a:extLst>
          </p:cNvPr>
          <p:cNvSpPr txBox="1">
            <a:spLocks/>
          </p:cNvSpPr>
          <p:nvPr/>
        </p:nvSpPr>
        <p:spPr bwMode="auto">
          <a:xfrm>
            <a:off x="609600" y="479027"/>
            <a:ext cx="109728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kern="0" dirty="0"/>
              <a:t>Defining green skill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7F670AA-8641-49E9-94D3-794ACF4EAE25}"/>
              </a:ext>
            </a:extLst>
          </p:cNvPr>
          <p:cNvSpPr txBox="1"/>
          <p:nvPr/>
        </p:nvSpPr>
        <p:spPr>
          <a:xfrm>
            <a:off x="609600" y="1919236"/>
            <a:ext cx="10972800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>
              <a:buFont typeface="Arial" panose="020B0604020202020204" pitchFamily="34" charset="0"/>
              <a:buChar char="•"/>
            </a:pPr>
            <a:endParaRPr lang="en-GB" sz="2000" b="0" dirty="0">
              <a:solidFill>
                <a:srgbClr val="0F5494"/>
              </a:solidFill>
            </a:endParaRPr>
          </a:p>
          <a:p>
            <a:pPr algn="ctr"/>
            <a:r>
              <a:rPr lang="en-GB" dirty="0">
                <a:solidFill>
                  <a:srgbClr val="0F5494"/>
                </a:solidFill>
              </a:rPr>
              <a:t>"the knowledge, abilities, values and attitudes needed to live in, develop and support a sustainable and resource-efficient society” </a:t>
            </a:r>
            <a:r>
              <a:rPr lang="en-GB" sz="1600" i="1" dirty="0">
                <a:solidFill>
                  <a:srgbClr val="0F5494"/>
                </a:solidFill>
              </a:rPr>
              <a:t>(</a:t>
            </a:r>
            <a:r>
              <a:rPr lang="en-GB" sz="1600" i="1" dirty="0" err="1">
                <a:solidFill>
                  <a:srgbClr val="0F5494"/>
                </a:solidFill>
              </a:rPr>
              <a:t>Cedefop</a:t>
            </a:r>
            <a:r>
              <a:rPr lang="en-GB" sz="1600" i="1" dirty="0">
                <a:solidFill>
                  <a:srgbClr val="0F5494"/>
                </a:solidFill>
              </a:rPr>
              <a:t>, 2012)</a:t>
            </a:r>
          </a:p>
          <a:p>
            <a:endParaRPr lang="en-GB" sz="2000" b="0" dirty="0">
              <a:solidFill>
                <a:srgbClr val="0F5494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732D1F45-5DD0-4C20-B4A6-E086E0EE7718}"/>
              </a:ext>
            </a:extLst>
          </p:cNvPr>
          <p:cNvSpPr/>
          <p:nvPr/>
        </p:nvSpPr>
        <p:spPr>
          <a:xfrm>
            <a:off x="989192" y="3853886"/>
            <a:ext cx="2763982" cy="820882"/>
          </a:xfrm>
          <a:prstGeom prst="roundRect">
            <a:avLst>
              <a:gd name="adj" fmla="val 5275"/>
            </a:avLst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GB" sz="1800" b="0" dirty="0"/>
              <a:t>Technical skill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21235DB-DF83-4BDD-AF81-D46FE3BB9F1E}"/>
              </a:ext>
            </a:extLst>
          </p:cNvPr>
          <p:cNvSpPr/>
          <p:nvPr/>
        </p:nvSpPr>
        <p:spPr>
          <a:xfrm>
            <a:off x="4734249" y="3853886"/>
            <a:ext cx="2763982" cy="820882"/>
          </a:xfrm>
          <a:prstGeom prst="roundRect">
            <a:avLst>
              <a:gd name="adj" fmla="val 5275"/>
            </a:avLst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GB" sz="1800" b="0" dirty="0"/>
              <a:t>Cross-sectoral skill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CDDA7F3-9E0A-4B2C-B88A-A6B47285D78D}"/>
              </a:ext>
            </a:extLst>
          </p:cNvPr>
          <p:cNvSpPr/>
          <p:nvPr/>
        </p:nvSpPr>
        <p:spPr>
          <a:xfrm>
            <a:off x="8479306" y="3853886"/>
            <a:ext cx="2763982" cy="820882"/>
          </a:xfrm>
          <a:prstGeom prst="roundRect">
            <a:avLst>
              <a:gd name="adj" fmla="val 5275"/>
            </a:avLst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GB" sz="1800" b="0" dirty="0"/>
              <a:t>Transversal skill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7246B55-1688-46B9-9E34-45230B729FCE}"/>
              </a:ext>
            </a:extLst>
          </p:cNvPr>
          <p:cNvSpPr txBox="1"/>
          <p:nvPr/>
        </p:nvSpPr>
        <p:spPr>
          <a:xfrm>
            <a:off x="4802010" y="4861929"/>
            <a:ext cx="26284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0" dirty="0">
                <a:solidFill>
                  <a:srgbClr val="0F5494"/>
                </a:solidFill>
              </a:rPr>
              <a:t>e.g. Research and innovation skill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2C0D6B5-7858-452C-8523-4B72E505CFF5}"/>
              </a:ext>
            </a:extLst>
          </p:cNvPr>
          <p:cNvSpPr txBox="1"/>
          <p:nvPr/>
        </p:nvSpPr>
        <p:spPr>
          <a:xfrm>
            <a:off x="8547067" y="4844947"/>
            <a:ext cx="26284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0" dirty="0">
                <a:solidFill>
                  <a:srgbClr val="0F5494"/>
                </a:solidFill>
              </a:rPr>
              <a:t>e.g. environmental awar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0F6D5ED-E0F9-4A5E-8AD4-4ED7D9456DAB}"/>
              </a:ext>
            </a:extLst>
          </p:cNvPr>
          <p:cNvSpPr txBox="1"/>
          <p:nvPr/>
        </p:nvSpPr>
        <p:spPr>
          <a:xfrm>
            <a:off x="1056953" y="4844947"/>
            <a:ext cx="26284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0" dirty="0">
                <a:solidFill>
                  <a:srgbClr val="0F5494"/>
                </a:solidFill>
              </a:rPr>
              <a:t>e.g. design water conservation systems</a:t>
            </a:r>
          </a:p>
        </p:txBody>
      </p:sp>
    </p:spTree>
    <p:extLst>
      <p:ext uri="{BB962C8B-B14F-4D97-AF65-F5344CB8AC3E}">
        <p14:creationId xmlns:p14="http://schemas.microsoft.com/office/powerpoint/2010/main" val="7760595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POWER_USER_PPT_AGENDA_PRESENTATION_COLOR_TAG" val="#4F81BD"/>
  <p:tag name="POWER_USER_PPT_AGENDA_PRESENTATION_DIVIDERS_CHECKED_TAG" val="0"/>
  <p:tag name="POWER_USER_PPT_AGENDA_PRESENTATION_TABLE_OF_CONTENT_CHECKED_TAG" val="1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B. BURIAN new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EC-template">
  <a:themeElements>
    <a:clrScheme name="Custom 1">
      <a:dk1>
        <a:srgbClr val="FFFFFF"/>
      </a:dk1>
      <a:lt1>
        <a:srgbClr val="004494"/>
      </a:lt1>
      <a:dk2>
        <a:srgbClr val="A7A7A7"/>
      </a:dk2>
      <a:lt2>
        <a:srgbClr val="535353"/>
      </a:lt2>
      <a:accent1>
        <a:srgbClr val="3F85C1"/>
      </a:accent1>
      <a:accent2>
        <a:srgbClr val="333399"/>
      </a:accent2>
      <a:accent3>
        <a:srgbClr val="8F8F8F"/>
      </a:accent3>
      <a:accent4>
        <a:srgbClr val="707070"/>
      </a:accent4>
      <a:accent5>
        <a:srgbClr val="DAEDEF"/>
      </a:accent5>
      <a:accent6>
        <a:srgbClr val="2D2D8A"/>
      </a:accent6>
      <a:hlink>
        <a:srgbClr val="0000FF"/>
      </a:hlink>
      <a:folHlink>
        <a:srgbClr val="FF00FF"/>
      </a:folHlink>
    </a:clrScheme>
    <a:fontScheme name="Default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127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Off val="44000"/>
          </a:schemeClr>
        </a:solidFill>
        <a:ln w="25400" cap="flat">
          <a:solidFill>
            <a:schemeClr val="accent1"/>
          </a:solidFill>
          <a:prstDash val="solid"/>
          <a:bevel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bevel/>
        </a:ln>
        <a:effectLst>
          <a:outerShdw blurRad="38100" dist="127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t">
        <a:spAutoFit/>
      </a:bodyPr>
      <a:lstStyle>
        <a:defPPr marL="0" marR="0" indent="0" algn="r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004494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ISA²_powerpoint.potx [Read-Only]" id="{7205C11F-0D12-4F59-BFAC-C4B0F5FE284B}" vid="{9A7CC786-56E4-4E93-8396-3DA3AA2DADCB}"/>
    </a:ext>
  </a:extLst>
</a:theme>
</file>

<file path=ppt/theme/theme3.xml><?xml version="1.0" encoding="utf-8"?>
<a:theme xmlns:a="http://schemas.openxmlformats.org/drawingml/2006/main" name="Blank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33176"/>
        </a:solidFill>
        <a:ln>
          <a:solidFill>
            <a:srgbClr val="133176"/>
          </a:solidFill>
        </a:ln>
      </a:spPr>
      <a:bodyPr anchor="ctr"/>
      <a:lstStyle>
        <a:defPPr algn="ctr" defTabSz="457200" fontAlgn="auto">
          <a:spcBef>
            <a:spcPts val="0"/>
          </a:spcBef>
          <a:spcAft>
            <a:spcPts val="0"/>
          </a:spcAft>
          <a:defRPr sz="1800" b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7600" b="1" i="0" u="none" strike="noStrike" cap="none" normalizeH="0" baseline="0" smtClean="0">
            <a:ln>
              <a:noFill/>
            </a:ln>
            <a:solidFill>
              <a:srgbClr val="FFD624"/>
            </a:solidFill>
            <a:effectLst/>
            <a:latin typeface="Verdana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2400" b="0" dirty="0" err="1" smtClean="0">
            <a:solidFill>
              <a:srgbClr val="0F5494"/>
            </a:solidFill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EC-template">
  <a:themeElements>
    <a:clrScheme name="Custom 1">
      <a:dk1>
        <a:srgbClr val="FFFFFF"/>
      </a:dk1>
      <a:lt1>
        <a:srgbClr val="004494"/>
      </a:lt1>
      <a:dk2>
        <a:srgbClr val="A7A7A7"/>
      </a:dk2>
      <a:lt2>
        <a:srgbClr val="535353"/>
      </a:lt2>
      <a:accent1>
        <a:srgbClr val="3F85C1"/>
      </a:accent1>
      <a:accent2>
        <a:srgbClr val="333399"/>
      </a:accent2>
      <a:accent3>
        <a:srgbClr val="8F8F8F"/>
      </a:accent3>
      <a:accent4>
        <a:srgbClr val="707070"/>
      </a:accent4>
      <a:accent5>
        <a:srgbClr val="DAEDEF"/>
      </a:accent5>
      <a:accent6>
        <a:srgbClr val="2D2D8A"/>
      </a:accent6>
      <a:hlink>
        <a:srgbClr val="0000FF"/>
      </a:hlink>
      <a:folHlink>
        <a:srgbClr val="FF00FF"/>
      </a:folHlink>
    </a:clrScheme>
    <a:fontScheme name="Default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127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Off val="44000"/>
          </a:schemeClr>
        </a:solidFill>
        <a:ln w="25400" cap="flat">
          <a:solidFill>
            <a:schemeClr val="accent1"/>
          </a:solidFill>
          <a:prstDash val="solid"/>
          <a:bevel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bevel/>
        </a:ln>
        <a:effectLst>
          <a:outerShdw blurRad="38100" dist="127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t">
        <a:spAutoFit/>
      </a:bodyPr>
      <a:lstStyle>
        <a:defPPr marL="0" marR="0" indent="0" algn="r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004494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ISA²_powerpoint.potx [Read-Only]" id="{7205C11F-0D12-4F59-BFAC-C4B0F5FE284B}" vid="{9A7CC786-56E4-4E93-8396-3DA3AA2DADCB}"/>
    </a:ext>
  </a:extLst>
</a:theme>
</file>

<file path=ppt/theme/theme5.xml><?xml version="1.0" encoding="utf-8"?>
<a:theme xmlns:a="http://schemas.openxmlformats.org/drawingml/2006/main" name="8_Blank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de_Maste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24384FABC236469C9CD554DB414A52" ma:contentTypeVersion="13" ma:contentTypeDescription="Create a new document." ma:contentTypeScope="" ma:versionID="ef50ca8121a0e9314022b46d2faeddc2">
  <xsd:schema xmlns:xsd="http://www.w3.org/2001/XMLSchema" xmlns:xs="http://www.w3.org/2001/XMLSchema" xmlns:p="http://schemas.microsoft.com/office/2006/metadata/properties" xmlns:ns2="2394d3b4-0180-4131-885a-ce664fdb0b5d" xmlns:ns3="1f5cff2b-1187-4055-a60b-d71ba6a41b85" targetNamespace="http://schemas.microsoft.com/office/2006/metadata/properties" ma:root="true" ma:fieldsID="09eda923049b0526155b94dfbd8e75b9" ns2:_="" ns3:_="">
    <xsd:import namespace="2394d3b4-0180-4131-885a-ce664fdb0b5d"/>
    <xsd:import namespace="1f5cff2b-1187-4055-a60b-d71ba6a41b8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94d3b4-0180-4131-885a-ce664fdb0b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5cff2b-1187-4055-a60b-d71ba6a41b85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BF9527F-9A10-4512-88A6-1A61382AE9CD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0c869d80-d99c-4dac-b26b-cbbc56b0e91c"/>
    <ds:schemaRef ds:uri="http://schemas.microsoft.com/office/2006/metadata/properties"/>
    <ds:schemaRef ds:uri="http://purl.org/dc/terms/"/>
    <ds:schemaRef ds:uri="4a230dd3-5426-44e9-972e-c86e457e3d31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7D5C7DF-BFE1-48C5-9981-2A9F519566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394d3b4-0180-4131-885a-ce664fdb0b5d"/>
    <ds:schemaRef ds:uri="1f5cff2b-1187-4055-a60b-d71ba6a41b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4A93E73-7409-449E-87AE-924AE3E3D51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2446</TotalTime>
  <Words>628</Words>
  <Application>Microsoft Office PowerPoint</Application>
  <PresentationFormat>Widescreen</PresentationFormat>
  <Paragraphs>127</Paragraphs>
  <Slides>1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1" baseType="lpstr">
      <vt:lpstr>Arial</vt:lpstr>
      <vt:lpstr>Calibri</vt:lpstr>
      <vt:lpstr>Calibri Light</vt:lpstr>
      <vt:lpstr>Courier New</vt:lpstr>
      <vt:lpstr>EC Square Sans Pro</vt:lpstr>
      <vt:lpstr>EC Square Sans Pro Medium</vt:lpstr>
      <vt:lpstr>Helvetica Neue</vt:lpstr>
      <vt:lpstr>Verdana</vt:lpstr>
      <vt:lpstr>16B. BURIAN new template</vt:lpstr>
      <vt:lpstr>EC-template</vt:lpstr>
      <vt:lpstr>Blank</vt:lpstr>
      <vt:lpstr>1_EC-template</vt:lpstr>
      <vt:lpstr>8_Blank</vt:lpstr>
      <vt:lpstr>Diapositiva de think-cell</vt:lpstr>
      <vt:lpstr> Overview of ESCO v1.1 15th ESCO MSWG and 36th ESCO MAI meeting  29 November 2021</vt:lpstr>
      <vt:lpstr>Objectives of ESCO version 1.1</vt:lpstr>
      <vt:lpstr>PowerPoint Presentation</vt:lpstr>
      <vt:lpstr>Specific focus of ESCO version 1.1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MSS</dc:title>
  <dc:creator>Elien Hertveldt</dc:creator>
  <cp:lastModifiedBy>Koenraad Polley</cp:lastModifiedBy>
  <cp:revision>1583</cp:revision>
  <cp:lastPrinted>2018-06-26T10:02:01Z</cp:lastPrinted>
  <dcterms:created xsi:type="dcterms:W3CDTF">2016-09-12T12:31:58Z</dcterms:created>
  <dcterms:modified xsi:type="dcterms:W3CDTF">2021-11-29T08:1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24384FABC236469C9CD554DB414A52</vt:lpwstr>
  </property>
  <property fmtid="{D5CDD505-2E9C-101B-9397-08002B2CF9AE}" pid="3" name="_dlc_DocIdItemGuid">
    <vt:lpwstr>5219d683-a087-4781-bf56-561800d67e3d</vt:lpwstr>
  </property>
</Properties>
</file>